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  <p:sldMasterId id="2147483722" r:id="rId5"/>
    <p:sldMasterId id="2147483749" r:id="rId6"/>
    <p:sldMasterId id="2147483751" r:id="rId7"/>
    <p:sldMasterId id="2147483753" r:id="rId8"/>
  </p:sldMasterIdLst>
  <p:notesMasterIdLst>
    <p:notesMasterId r:id="rId34"/>
  </p:notesMasterIdLst>
  <p:handoutMasterIdLst>
    <p:handoutMasterId r:id="rId35"/>
  </p:handoutMasterIdLst>
  <p:sldIdLst>
    <p:sldId id="256" r:id="rId9"/>
    <p:sldId id="257" r:id="rId10"/>
    <p:sldId id="259" r:id="rId11"/>
    <p:sldId id="5559" r:id="rId12"/>
    <p:sldId id="258" r:id="rId13"/>
    <p:sldId id="260" r:id="rId14"/>
    <p:sldId id="3668" r:id="rId15"/>
    <p:sldId id="3669" r:id="rId16"/>
    <p:sldId id="3670" r:id="rId17"/>
    <p:sldId id="3672" r:id="rId18"/>
    <p:sldId id="3673" r:id="rId19"/>
    <p:sldId id="3674" r:id="rId20"/>
    <p:sldId id="3675" r:id="rId21"/>
    <p:sldId id="3676" r:id="rId22"/>
    <p:sldId id="3677" r:id="rId23"/>
    <p:sldId id="3678" r:id="rId24"/>
    <p:sldId id="3679" r:id="rId25"/>
    <p:sldId id="3680" r:id="rId26"/>
    <p:sldId id="3681" r:id="rId27"/>
    <p:sldId id="3682" r:id="rId28"/>
    <p:sldId id="3683" r:id="rId29"/>
    <p:sldId id="3684" r:id="rId30"/>
    <p:sldId id="3685" r:id="rId31"/>
    <p:sldId id="3686" r:id="rId32"/>
    <p:sldId id="3687" r:id="rId33"/>
  </p:sldIdLst>
  <p:sldSz cx="9144000" cy="6858000" type="screen4x3"/>
  <p:notesSz cx="6858000" cy="9144000"/>
  <p:embeddedFontLst>
    <p:embeddedFont>
      <p:font typeface="Averta" panose="00000500000000000000" pitchFamily="50" charset="0"/>
      <p:regular r:id="rId36"/>
      <p:italic r:id="rId37"/>
    </p:embeddedFont>
    <p:embeddedFont>
      <p:font typeface="Averta Bold" panose="00000800000000000000" pitchFamily="50" charset="0"/>
      <p:bold r:id="rId38"/>
      <p:italic r:id="rId39"/>
      <p:boldItalic r:id="rId40"/>
    </p:embeddedFont>
    <p:embeddedFont>
      <p:font typeface="Averta Light" panose="00000400000000000000" pitchFamily="50" charset="0"/>
      <p:regular r:id="rId41"/>
      <p:italic r:id="rId42"/>
    </p:embeddedFont>
    <p:embeddedFont>
      <p:font typeface="Calibri" panose="020F0502020204030204" pitchFamily="34" charset="0"/>
      <p:regular r:id="rId43"/>
      <p:bold r:id="rId44"/>
      <p:italic r:id="rId45"/>
      <p:boldItalic r:id="rId4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438" userDrawn="1">
          <p15:clr>
            <a:srgbClr val="A4A3A4"/>
          </p15:clr>
        </p15:guide>
        <p15:guide id="3" orient="horz" pos="3912" userDrawn="1">
          <p15:clr>
            <a:srgbClr val="A4A3A4"/>
          </p15:clr>
        </p15:guide>
        <p15:guide id="4" orient="horz" pos="2112" userDrawn="1">
          <p15:clr>
            <a:srgbClr val="A4A3A4"/>
          </p15:clr>
        </p15:guide>
        <p15:guide id="5" orient="horz" pos="3624" userDrawn="1">
          <p15:clr>
            <a:srgbClr val="A4A3A4"/>
          </p15:clr>
        </p15:guide>
        <p15:guide id="6" orient="horz" pos="11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649"/>
    <a:srgbClr val="4DB2B8"/>
    <a:srgbClr val="246394"/>
    <a:srgbClr val="FEFFFF"/>
    <a:srgbClr val="CBD3EB"/>
    <a:srgbClr val="E7EAF5"/>
    <a:srgbClr val="92D050"/>
    <a:srgbClr val="0064C8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7EC61A-63D4-411B-B1C5-DF90EDB285FF}" v="1" dt="2022-01-20T22:38:29.0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68" autoAdjust="0"/>
    <p:restoredTop sz="82798" autoAdjust="0"/>
  </p:normalViewPr>
  <p:slideViewPr>
    <p:cSldViewPr snapToGrid="0" snapToObjects="1">
      <p:cViewPr varScale="1">
        <p:scale>
          <a:sx n="34" d="100"/>
          <a:sy n="34" d="100"/>
        </p:scale>
        <p:origin x="1592" y="36"/>
      </p:cViewPr>
      <p:guideLst>
        <p:guide pos="3438"/>
        <p:guide orient="horz" pos="3912"/>
        <p:guide orient="horz" pos="2112"/>
        <p:guide orient="horz" pos="3624"/>
        <p:guide orient="horz" pos="11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148"/>
    </p:cViewPr>
  </p:sorterViewPr>
  <p:notesViewPr>
    <p:cSldViewPr snapToGrid="0" snapToObjects="1" showGuides="1">
      <p:cViewPr varScale="1">
        <p:scale>
          <a:sx n="123" d="100"/>
          <a:sy n="123" d="100"/>
        </p:scale>
        <p:origin x="343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font" Target="fonts/font4.fntdata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7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font" Target="fonts/font10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font" Target="fonts/font1.fntdata"/><Relationship Id="rId49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handoutMaster" Target="handoutMasters/handoutMaster1.xml"/><Relationship Id="rId43" Type="http://schemas.openxmlformats.org/officeDocument/2006/relationships/font" Target="fonts/font8.fntdata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font" Target="fonts/font3.fntdata"/><Relationship Id="rId46" Type="http://schemas.openxmlformats.org/officeDocument/2006/relationships/font" Target="fonts/font11.fntdata"/><Relationship Id="rId20" Type="http://schemas.openxmlformats.org/officeDocument/2006/relationships/slide" Target="slides/slide12.xml"/><Relationship Id="rId41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54BD5B-F2F0-473C-BFFB-C9C8FFD919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4E19F5-BEFB-4DD4-A636-F6837D8A70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E713DA-2712-4823-951F-DE3C0223924B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6771C9-2037-4383-9262-EEF9D4A8EB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783815-1E7D-46B9-B374-AF8F31B7C95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E461C1-EAC8-4B6D-B057-B71152F12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733523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Name of Present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FE1829-3FE9-4C40-AAC0-0FBE83262067}" type="datetimeFigureOut">
              <a:rPr lang="en-US" smtClean="0"/>
              <a:t>1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E160C4-F48D-4EDD-BF6F-AD9F09B864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111004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8310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7959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4624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9540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0445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9123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6474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8251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9494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3139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005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0923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0415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1925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02030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0174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196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939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154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623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477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3505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217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7757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E160C4-F48D-4EDD-BF6F-AD9F09B864E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563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62AD667-99C7-477F-ADB6-040F77ABC8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2FF2396-4B9C-4939-A7CA-936162D345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799"/>
            <a:ext cx="4000500" cy="2309019"/>
          </a:xfrm>
        </p:spPr>
        <p:txBody>
          <a:bodyPr anchor="b"/>
          <a:lstStyle>
            <a:lvl1pPr algn="l">
              <a:defRPr sz="4500">
                <a:solidFill>
                  <a:schemeClr val="bg1"/>
                </a:solidFill>
                <a:latin typeface="Averta Light" panose="000004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CE4890-8777-4137-A9E3-4D021D1232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883623"/>
            <a:ext cx="1930003" cy="198758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3F7BE9C-BA89-46DE-8169-12C82240A2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435476"/>
            <a:ext cx="1930003" cy="274963"/>
          </a:xfrm>
        </p:spPr>
        <p:txBody>
          <a:bodyPr/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394197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89E479-061C-47B6-94F9-9BA945C83B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9FA35A-C726-489E-9974-7613A5183A69}"/>
              </a:ext>
            </a:extLst>
          </p:cNvPr>
          <p:cNvCxnSpPr>
            <a:cxnSpLocks/>
          </p:cNvCxnSpPr>
          <p:nvPr userDrawn="1"/>
        </p:nvCxnSpPr>
        <p:spPr>
          <a:xfrm flipV="1">
            <a:off x="2571750" y="1325563"/>
            <a:ext cx="1885951" cy="20522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E1D68-93A7-4FE2-8BE9-ABCE14AED6F3}"/>
              </a:ext>
            </a:extLst>
          </p:cNvPr>
          <p:cNvCxnSpPr>
            <a:cxnSpLocks/>
          </p:cNvCxnSpPr>
          <p:nvPr userDrawn="1"/>
        </p:nvCxnSpPr>
        <p:spPr>
          <a:xfrm>
            <a:off x="4686300" y="1325563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7089A17-DC30-4ADE-B857-CBC49F85D578}"/>
              </a:ext>
            </a:extLst>
          </p:cNvPr>
          <p:cNvCxnSpPr>
            <a:cxnSpLocks/>
          </p:cNvCxnSpPr>
          <p:nvPr userDrawn="1"/>
        </p:nvCxnSpPr>
        <p:spPr>
          <a:xfrm>
            <a:off x="6819414" y="1325563"/>
            <a:ext cx="1867387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46">
            <a:extLst>
              <a:ext uri="{FF2B5EF4-FFF2-40B4-BE49-F238E27FC236}">
                <a16:creationId xmlns:a16="http://schemas.microsoft.com/office/drawing/2014/main" id="{7BAEAD76-6771-453F-937E-B8964DEFCF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84735" y="2879726"/>
            <a:ext cx="1881328" cy="15557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46">
            <a:extLst>
              <a:ext uri="{FF2B5EF4-FFF2-40B4-BE49-F238E27FC236}">
                <a16:creationId xmlns:a16="http://schemas.microsoft.com/office/drawing/2014/main" id="{C81E9422-63BB-405D-8934-F7AE9A8D7C8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2879726"/>
            <a:ext cx="1885950" cy="1555751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46">
            <a:extLst>
              <a:ext uri="{FF2B5EF4-FFF2-40B4-BE49-F238E27FC236}">
                <a16:creationId xmlns:a16="http://schemas.microsoft.com/office/drawing/2014/main" id="{5960F349-437C-4CD8-8307-E74D0CFF8F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00850" y="2879726"/>
            <a:ext cx="1885950" cy="15557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7B56E2-AEEF-49C0-9215-BF54DFC0D4E5}"/>
              </a:ext>
            </a:extLst>
          </p:cNvPr>
          <p:cNvSpPr txBox="1"/>
          <p:nvPr userDrawn="1"/>
        </p:nvSpPr>
        <p:spPr>
          <a:xfrm>
            <a:off x="2584735" y="1347174"/>
            <a:ext cx="71491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800" dirty="0">
                <a:solidFill>
                  <a:schemeClr val="accent3"/>
                </a:solidFill>
                <a:latin typeface="+mj-lt"/>
              </a:rPr>
              <a:t>0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449792-65E0-4B15-A949-9B44BEBEAAEC}"/>
              </a:ext>
            </a:extLst>
          </p:cNvPr>
          <p:cNvSpPr txBox="1"/>
          <p:nvPr userDrawn="1"/>
        </p:nvSpPr>
        <p:spPr>
          <a:xfrm>
            <a:off x="4664019" y="1347174"/>
            <a:ext cx="71491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800" dirty="0">
                <a:solidFill>
                  <a:schemeClr val="accent3"/>
                </a:solidFill>
                <a:latin typeface="+mj-lt"/>
              </a:rPr>
              <a:t>0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1C19CF5-8720-4DDF-8C57-6C04E1A4CB89}"/>
              </a:ext>
            </a:extLst>
          </p:cNvPr>
          <p:cNvSpPr txBox="1"/>
          <p:nvPr userDrawn="1"/>
        </p:nvSpPr>
        <p:spPr>
          <a:xfrm>
            <a:off x="6800850" y="1347174"/>
            <a:ext cx="71491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800" dirty="0">
                <a:solidFill>
                  <a:schemeClr val="accent3"/>
                </a:solidFill>
                <a:latin typeface="+mj-lt"/>
              </a:rPr>
              <a:t>03</a:t>
            </a:r>
          </a:p>
        </p:txBody>
      </p:sp>
      <p:sp>
        <p:nvSpPr>
          <p:cNvPr id="23" name="Text Placeholder 79">
            <a:extLst>
              <a:ext uri="{FF2B5EF4-FFF2-40B4-BE49-F238E27FC236}">
                <a16:creationId xmlns:a16="http://schemas.microsoft.com/office/drawing/2014/main" id="{76E81B60-BF6C-417F-A4D6-0849C9B36B1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7200" y="1852614"/>
            <a:ext cx="1874044" cy="741363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5"/>
            <a:r>
              <a:rPr lang="en-US" dirty="0"/>
              <a:t>Edit Master text styles</a:t>
            </a:r>
          </a:p>
        </p:txBody>
      </p:sp>
      <p:sp>
        <p:nvSpPr>
          <p:cNvPr id="30" name="Text Placeholder 79">
            <a:extLst>
              <a:ext uri="{FF2B5EF4-FFF2-40B4-BE49-F238E27FC236}">
                <a16:creationId xmlns:a16="http://schemas.microsoft.com/office/drawing/2014/main" id="{94688AAF-AFBC-4BB9-913B-0BE52A27AE4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57200" y="4683468"/>
            <a:ext cx="4006453" cy="667544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6"/>
            <a:r>
              <a:rPr lang="en-US" dirty="0"/>
              <a:t>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27F83D7-C8F9-409D-8905-CEB41C82A9D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571750" y="185114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A23CFCF2-EE3E-4668-B057-6CD3A748F87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86300" y="183209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958EEB5-84A0-4158-9A7B-A87ECABA6BD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800850" y="1829934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214EA5C-1279-4903-9C2C-D084ED51AD9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57200" y="2879726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2CCE4046-5E60-4443-A072-B1C391AE72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52705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ontent 2 columns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B8156FC-028D-4EF1-957F-82DA0B32663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686300" y="4495800"/>
            <a:ext cx="4057650" cy="1333500"/>
          </a:xfrm>
        </p:spPr>
        <p:txBody>
          <a:bodyPr/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A8102AD-18FD-4B9D-8AAA-82831F7AE0C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57200" y="4495800"/>
            <a:ext cx="4000500" cy="1333500"/>
          </a:xfrm>
        </p:spPr>
        <p:txBody>
          <a:bodyPr/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581BA86-FEA2-437D-A117-2BF7FD0FD5B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1325564"/>
            <a:ext cx="400050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10D7B94-0D99-44D6-8F44-04F2E3EA233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86300" y="1333501"/>
            <a:ext cx="400050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F040D19-8DA8-46AB-9755-EE972A7D8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81A6106-E974-4625-B387-925B8F1D3F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662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and ba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A974B26A-7DF9-432A-9666-F9E8F2561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346199"/>
            <a:ext cx="1885950" cy="1327207"/>
          </a:xfrm>
        </p:spPr>
        <p:txBody>
          <a:bodyPr/>
          <a:lstStyle/>
          <a:p>
            <a:endParaRPr lang="en-US"/>
          </a:p>
        </p:txBody>
      </p:sp>
      <p:sp>
        <p:nvSpPr>
          <p:cNvPr id="50" name="Picture Placeholder 46">
            <a:extLst>
              <a:ext uri="{FF2B5EF4-FFF2-40B4-BE49-F238E27FC236}">
                <a16:creationId xmlns:a16="http://schemas.microsoft.com/office/drawing/2014/main" id="{8F106FE5-9D5A-4D15-9BA6-0F752935AB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71750" y="1346199"/>
            <a:ext cx="1885950" cy="1327207"/>
          </a:xfrm>
        </p:spPr>
        <p:txBody>
          <a:bodyPr/>
          <a:lstStyle/>
          <a:p>
            <a:endParaRPr lang="en-US"/>
          </a:p>
        </p:txBody>
      </p:sp>
      <p:sp>
        <p:nvSpPr>
          <p:cNvPr id="52" name="Picture Placeholder 46">
            <a:extLst>
              <a:ext uri="{FF2B5EF4-FFF2-40B4-BE49-F238E27FC236}">
                <a16:creationId xmlns:a16="http://schemas.microsoft.com/office/drawing/2014/main" id="{F450B1FF-D581-4AB1-B5E6-AE28BF837A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86300" y="1346199"/>
            <a:ext cx="1885950" cy="1327207"/>
          </a:xfrm>
        </p:spPr>
        <p:txBody>
          <a:bodyPr/>
          <a:lstStyle/>
          <a:p>
            <a:endParaRPr lang="en-US"/>
          </a:p>
        </p:txBody>
      </p:sp>
      <p:sp>
        <p:nvSpPr>
          <p:cNvPr id="54" name="Picture Placeholder 46">
            <a:extLst>
              <a:ext uri="{FF2B5EF4-FFF2-40B4-BE49-F238E27FC236}">
                <a16:creationId xmlns:a16="http://schemas.microsoft.com/office/drawing/2014/main" id="{F4AE9478-7A09-4A47-861A-F7DCC2D4AD2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800850" y="1346199"/>
            <a:ext cx="1885950" cy="1327207"/>
          </a:xfrm>
        </p:spPr>
        <p:txBody>
          <a:bodyPr/>
          <a:lstStyle/>
          <a:p>
            <a:endParaRPr lang="en-US"/>
          </a:p>
        </p:txBody>
      </p:sp>
      <p:sp>
        <p:nvSpPr>
          <p:cNvPr id="56" name="Picture Placeholder 46">
            <a:extLst>
              <a:ext uri="{FF2B5EF4-FFF2-40B4-BE49-F238E27FC236}">
                <a16:creationId xmlns:a16="http://schemas.microsoft.com/office/drawing/2014/main" id="{7BAFFD46-C0E1-4FFF-AF8A-1F7B2F5133F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57199" y="3399857"/>
            <a:ext cx="1885952" cy="124193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8" name="Picture Placeholder 46">
            <a:extLst>
              <a:ext uri="{FF2B5EF4-FFF2-40B4-BE49-F238E27FC236}">
                <a16:creationId xmlns:a16="http://schemas.microsoft.com/office/drawing/2014/main" id="{0B455C44-F57E-42C2-9B2E-6C3970ACA71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571750" y="3399858"/>
            <a:ext cx="1885950" cy="1233189"/>
          </a:xfrm>
        </p:spPr>
        <p:txBody>
          <a:bodyPr/>
          <a:lstStyle/>
          <a:p>
            <a:endParaRPr lang="en-US"/>
          </a:p>
        </p:txBody>
      </p:sp>
      <p:sp>
        <p:nvSpPr>
          <p:cNvPr id="60" name="Picture Placeholder 46">
            <a:extLst>
              <a:ext uri="{FF2B5EF4-FFF2-40B4-BE49-F238E27FC236}">
                <a16:creationId xmlns:a16="http://schemas.microsoft.com/office/drawing/2014/main" id="{595A3B75-AB48-4D80-AACE-A71B594D809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86300" y="3399857"/>
            <a:ext cx="1885950" cy="124193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2" name="Picture Placeholder 46">
            <a:extLst>
              <a:ext uri="{FF2B5EF4-FFF2-40B4-BE49-F238E27FC236}">
                <a16:creationId xmlns:a16="http://schemas.microsoft.com/office/drawing/2014/main" id="{38098D5F-ED82-4056-BD7D-40C2A8542A1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00850" y="3399857"/>
            <a:ext cx="1885950" cy="1241935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DB583C8-6519-420E-B510-FF18E7D19A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2437" y="2673407"/>
            <a:ext cx="1890713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9766EB4-4F9F-4D51-93A1-AE22DE4F5DA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76513" y="2673407"/>
            <a:ext cx="18859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C9D0AC06-DCF5-499F-9AC0-4C8EA19C1F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86300" y="2673407"/>
            <a:ext cx="18859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13A5A80-EE4C-4DFF-89FF-EA4AD9A2E28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00850" y="2673407"/>
            <a:ext cx="18859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950DFD25-369F-4E9C-B922-47FD1663D59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1" y="4661014"/>
            <a:ext cx="18859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1A7ABDE-34BF-4D5C-AD83-83570A5D01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576513" y="4661014"/>
            <a:ext cx="18859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72467BD-D958-4DF8-AD06-41B07C0843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86300" y="4661014"/>
            <a:ext cx="18859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5524179-5F68-46F1-9B3A-20B05DAA942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00850" y="4661014"/>
            <a:ext cx="18859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56C2874-BE2B-48F0-ADBE-87D61703F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3D5603C-C4B7-45FA-908B-65ACF1C138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00529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header ba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4B7588-ED9D-4376-9DAE-E7DAE5E524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8347" y="1325564"/>
            <a:ext cx="1884803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EE4241E-82F4-4CCC-967E-918A372F6A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71878" y="1325564"/>
            <a:ext cx="1890584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770930B-B0F5-4C05-B026-16AC05A8C0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04258" y="1325564"/>
            <a:ext cx="1867992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7253C8F-E10B-4173-94D3-62CA8E278FC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00850" y="1325564"/>
            <a:ext cx="1884796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4ED5F4E-A057-430F-B3E7-3A0A25D0A5D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1688533"/>
            <a:ext cx="188595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1444AF3-0C98-44C1-AF50-D94BA37130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576512" y="1688533"/>
            <a:ext cx="188595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68A2FE7-37F9-4038-A255-33DEAD593EF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91062" y="1688533"/>
            <a:ext cx="188595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0CB8EAE-554F-459E-B0B7-E6821A01F50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799696" y="1688533"/>
            <a:ext cx="188595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EA944F-265A-4DDD-80D9-A17250540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1D2D5FE-6C75-41C0-8B71-4465B906A5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58342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header ba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4B7588-ED9D-4376-9DAE-E7DAE5E524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8347" y="1325564"/>
            <a:ext cx="2570603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770930B-B0F5-4C05-B026-16AC05A8C01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86125" y="1325564"/>
            <a:ext cx="2571750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7253C8F-E10B-4173-94D3-62CA8E278FC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5050" y="1325564"/>
            <a:ext cx="2570596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bIns="91440"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4ED5F4E-A057-430F-B3E7-3A0A25D0A5D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1688533"/>
            <a:ext cx="257175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68A2FE7-37F9-4038-A255-33DEAD593EF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286125" y="1688533"/>
            <a:ext cx="2571750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0CB8EAE-554F-459E-B0B7-E6821A01F50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115050" y="1688533"/>
            <a:ext cx="2570596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714A5E2-8272-4AA0-807C-6FFD1A06B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064ED7C-6896-48BA-91CB-7651D0FD59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5442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 header ba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4ED5F4E-A057-430F-B3E7-3A0A25D0A5D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1325564"/>
            <a:ext cx="1885950" cy="139166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1444AF3-0C98-44C1-AF50-D94BA37130D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576512" y="1325564"/>
            <a:ext cx="1885950" cy="139166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68A2FE7-37F9-4038-A255-33DEAD593EF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91062" y="1325564"/>
            <a:ext cx="1885950" cy="139166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0CB8EAE-554F-459E-B0B7-E6821A01F50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799696" y="1325564"/>
            <a:ext cx="1885950" cy="139166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0BB10C0-BB34-46BD-92FD-76F5A469D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CBAD0CA-D772-472C-A87A-BF69317EA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75011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2881966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54249F6-BDC3-4E58-9F83-F0ACDD41C86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419600"/>
            <a:ext cx="4012532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2FCCEBC-6FC2-45BC-8EEF-665771C79302}"/>
              </a:ext>
            </a:extLst>
          </p:cNvPr>
          <p:cNvCxnSpPr>
            <a:cxnSpLocks/>
          </p:cNvCxnSpPr>
          <p:nvPr userDrawn="1"/>
        </p:nvCxnSpPr>
        <p:spPr>
          <a:xfrm>
            <a:off x="4686300" y="2881966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04A64B1-841A-49F4-BFA0-C8EE7918A109}"/>
              </a:ext>
            </a:extLst>
          </p:cNvPr>
          <p:cNvCxnSpPr>
            <a:cxnSpLocks/>
          </p:cNvCxnSpPr>
          <p:nvPr userDrawn="1"/>
        </p:nvCxnSpPr>
        <p:spPr>
          <a:xfrm>
            <a:off x="4686300" y="4419600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BE4167D-FED0-4489-BC16-EAF2BCA11A0F}"/>
              </a:ext>
            </a:extLst>
          </p:cNvPr>
          <p:cNvSpPr txBox="1"/>
          <p:nvPr userDrawn="1"/>
        </p:nvSpPr>
        <p:spPr>
          <a:xfrm>
            <a:off x="457200" y="1335740"/>
            <a:ext cx="323961" cy="253916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en-US" sz="1350" dirty="0">
                <a:solidFill>
                  <a:schemeClr val="accent3"/>
                </a:solidFill>
              </a:rPr>
              <a:t>0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A4E68C7-4580-40FF-A6EF-3B93AA95B99C}"/>
              </a:ext>
            </a:extLst>
          </p:cNvPr>
          <p:cNvSpPr txBox="1"/>
          <p:nvPr userDrawn="1"/>
        </p:nvSpPr>
        <p:spPr>
          <a:xfrm>
            <a:off x="457200" y="2936897"/>
            <a:ext cx="323961" cy="253916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en-US" sz="1350" dirty="0">
                <a:solidFill>
                  <a:schemeClr val="accent3"/>
                </a:solidFill>
              </a:rPr>
              <a:t>0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D7F9BAB-E3E5-438B-B49B-D5B340A1D133}"/>
              </a:ext>
            </a:extLst>
          </p:cNvPr>
          <p:cNvSpPr txBox="1"/>
          <p:nvPr userDrawn="1"/>
        </p:nvSpPr>
        <p:spPr>
          <a:xfrm>
            <a:off x="457200" y="4468363"/>
            <a:ext cx="323961" cy="253916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en-US" sz="1350" dirty="0">
                <a:solidFill>
                  <a:schemeClr val="accent3"/>
                </a:solidFill>
              </a:rPr>
              <a:t>0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38FD21-1365-40F6-9362-EF596074962F}"/>
              </a:ext>
            </a:extLst>
          </p:cNvPr>
          <p:cNvSpPr txBox="1"/>
          <p:nvPr userDrawn="1"/>
        </p:nvSpPr>
        <p:spPr>
          <a:xfrm>
            <a:off x="4670330" y="1335740"/>
            <a:ext cx="323961" cy="253916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en-US" sz="1350" dirty="0">
                <a:solidFill>
                  <a:schemeClr val="accent3"/>
                </a:solidFill>
              </a:rPr>
              <a:t>0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EEC132E-80C2-4F49-91A4-E4122DE2343B}"/>
              </a:ext>
            </a:extLst>
          </p:cNvPr>
          <p:cNvSpPr txBox="1"/>
          <p:nvPr userDrawn="1"/>
        </p:nvSpPr>
        <p:spPr>
          <a:xfrm>
            <a:off x="4670330" y="2952086"/>
            <a:ext cx="323961" cy="253916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en-US" sz="1350" dirty="0">
                <a:solidFill>
                  <a:schemeClr val="accent3"/>
                </a:solidFill>
              </a:rPr>
              <a:t>0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981A186-C00F-4367-9984-3A52059D9D85}"/>
              </a:ext>
            </a:extLst>
          </p:cNvPr>
          <p:cNvSpPr txBox="1"/>
          <p:nvPr userDrawn="1"/>
        </p:nvSpPr>
        <p:spPr>
          <a:xfrm>
            <a:off x="4670330" y="4468363"/>
            <a:ext cx="323961" cy="253916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en-US" sz="1350" dirty="0">
                <a:solidFill>
                  <a:schemeClr val="accent3"/>
                </a:solidFill>
              </a:rPr>
              <a:t>06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0A99E01-2C31-4635-A736-9A0AB84DCA1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1725892"/>
            <a:ext cx="401253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C7D9770-6A61-40B2-AC53-FE8E31E54F4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7200" y="3295275"/>
            <a:ext cx="401253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BB7B6980-E33C-4D1D-9F16-F696015165F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1962" y="4797879"/>
            <a:ext cx="401253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60D3DA-6BEA-4D1C-9DE6-FD519620A0B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86300" y="1725892"/>
            <a:ext cx="401253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7863E62A-5269-4753-9BA9-13885C7B8C6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686300" y="3295275"/>
            <a:ext cx="401253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766B124-B72B-4133-8185-1F46C440679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91062" y="4797879"/>
            <a:ext cx="401253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9924044-2A2E-4DA4-AA50-8CDC9D022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01462FFB-B4FF-4F4B-A0F8-2E8AE0F8311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8280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ext with larg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1325563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2FCCEBC-6FC2-45BC-8EEF-665771C79302}"/>
              </a:ext>
            </a:extLst>
          </p:cNvPr>
          <p:cNvCxnSpPr>
            <a:cxnSpLocks/>
          </p:cNvCxnSpPr>
          <p:nvPr userDrawn="1"/>
        </p:nvCxnSpPr>
        <p:spPr>
          <a:xfrm>
            <a:off x="4686300" y="1325563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04A64B1-841A-49F4-BFA0-C8EE7918A109}"/>
              </a:ext>
            </a:extLst>
          </p:cNvPr>
          <p:cNvCxnSpPr>
            <a:cxnSpLocks/>
          </p:cNvCxnSpPr>
          <p:nvPr userDrawn="1"/>
        </p:nvCxnSpPr>
        <p:spPr>
          <a:xfrm>
            <a:off x="4686300" y="4435979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547F8F-9DCE-4464-9DB0-68DFFFC7BCF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686300" y="1629163"/>
            <a:ext cx="4000500" cy="2020501"/>
          </a:xfrm>
        </p:spPr>
        <p:txBody>
          <a:bodyPr lIns="0">
            <a:noAutofit/>
          </a:bodyPr>
          <a:lstStyle>
            <a:lvl1pPr marL="0" indent="0">
              <a:buNone/>
              <a:defRPr sz="900">
                <a:latin typeface="Averta Bold" panose="00000800000000000000" pitchFamily="2" charset="0"/>
              </a:defRPr>
            </a:lvl1pPr>
          </a:lstStyle>
          <a:p>
            <a:pPr lvl="8"/>
            <a:r>
              <a:rPr lang="en-US" dirty="0"/>
              <a:t>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AE70E79-C5E7-44C3-8A0C-E3E8AF1938C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1455829"/>
            <a:ext cx="4012532" cy="296772"/>
          </a:xfrm>
        </p:spPr>
        <p:txBody>
          <a:bodyPr/>
          <a:lstStyle/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35E0086-8E62-423C-B8B5-A97D75DC4A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57200" y="2008282"/>
            <a:ext cx="401253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81BE54E-0BF2-4E33-93A3-60173037B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C8D8C44C-BBE0-4E5F-9C92-9061166932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3628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graphs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2FCCEBC-6FC2-45BC-8EEF-665771C79302}"/>
              </a:ext>
            </a:extLst>
          </p:cNvPr>
          <p:cNvCxnSpPr>
            <a:cxnSpLocks/>
          </p:cNvCxnSpPr>
          <p:nvPr userDrawn="1"/>
        </p:nvCxnSpPr>
        <p:spPr>
          <a:xfrm>
            <a:off x="4686300" y="2040616"/>
            <a:ext cx="1914525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6C94CB0-F22D-43E6-BC5C-D2D5B2C619CB}"/>
              </a:ext>
            </a:extLst>
          </p:cNvPr>
          <p:cNvCxnSpPr>
            <a:cxnSpLocks/>
          </p:cNvCxnSpPr>
          <p:nvPr userDrawn="1"/>
        </p:nvCxnSpPr>
        <p:spPr>
          <a:xfrm>
            <a:off x="2571750" y="2040616"/>
            <a:ext cx="1897982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479760E-E4DC-43B9-88C9-343D7E910016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2571750" y="2182052"/>
            <a:ext cx="1885950" cy="3043999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BDF9397-B90C-4C2F-8FDD-FDE81E254127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4686301" y="2182052"/>
            <a:ext cx="1885950" cy="3043999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616E6C9-CB57-4E5D-BB35-F6DF3EC2BA3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1326644"/>
            <a:ext cx="1897982" cy="142794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7372962-7DAF-479E-A694-0F506D79BF2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576512" y="1326643"/>
            <a:ext cx="1881188" cy="556014"/>
          </a:xfrm>
        </p:spPr>
        <p:txBody>
          <a:bodyPr/>
          <a:lstStyle/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EC2A220-2B23-4BA0-8DC4-C5394E4A397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79031" y="1326643"/>
            <a:ext cx="1881188" cy="556014"/>
          </a:xfrm>
        </p:spPr>
        <p:txBody>
          <a:bodyPr/>
          <a:lstStyle/>
          <a:p>
            <a:pPr lvl="4"/>
            <a:r>
              <a:rPr lang="en-US" dirty="0"/>
              <a:t>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7529B8D-F9DD-438F-83B1-AE6C97B2ECA7}"/>
              </a:ext>
            </a:extLst>
          </p:cNvPr>
          <p:cNvCxnSpPr>
            <a:cxnSpLocks/>
          </p:cNvCxnSpPr>
          <p:nvPr userDrawn="1"/>
        </p:nvCxnSpPr>
        <p:spPr>
          <a:xfrm>
            <a:off x="6802244" y="2040616"/>
            <a:ext cx="1914525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5009FF63-E01A-4A41-9012-59929D127425}"/>
              </a:ext>
            </a:extLst>
          </p:cNvPr>
          <p:cNvSpPr>
            <a:spLocks noGrp="1"/>
          </p:cNvSpPr>
          <p:nvPr>
            <p:ph sz="quarter" idx="43"/>
          </p:nvPr>
        </p:nvSpPr>
        <p:spPr>
          <a:xfrm>
            <a:off x="6802244" y="2182052"/>
            <a:ext cx="1885950" cy="3043999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C071FD1-31BC-4B5A-8307-1E3AA14737E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794974" y="1326643"/>
            <a:ext cx="1881188" cy="556014"/>
          </a:xfrm>
        </p:spPr>
        <p:txBody>
          <a:bodyPr/>
          <a:lstStyle/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DFB3D79-AEB5-4F71-ABB7-063334EF6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1EC2C98-6FBC-4BB9-8489-633DBD80904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8897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with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2FCCEBC-6FC2-45BC-8EEF-665771C79302}"/>
              </a:ext>
            </a:extLst>
          </p:cNvPr>
          <p:cNvCxnSpPr>
            <a:cxnSpLocks/>
          </p:cNvCxnSpPr>
          <p:nvPr userDrawn="1"/>
        </p:nvCxnSpPr>
        <p:spPr>
          <a:xfrm>
            <a:off x="4692331" y="1883266"/>
            <a:ext cx="1879919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6C94CB0-F22D-43E6-BC5C-D2D5B2C619CB}"/>
              </a:ext>
            </a:extLst>
          </p:cNvPr>
          <p:cNvCxnSpPr>
            <a:cxnSpLocks/>
          </p:cNvCxnSpPr>
          <p:nvPr userDrawn="1"/>
        </p:nvCxnSpPr>
        <p:spPr>
          <a:xfrm>
            <a:off x="2577781" y="1882727"/>
            <a:ext cx="1879919" cy="54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757423-BEFA-4A8D-809E-3207CBC9CEC7}"/>
              </a:ext>
            </a:extLst>
          </p:cNvPr>
          <p:cNvCxnSpPr>
            <a:cxnSpLocks/>
          </p:cNvCxnSpPr>
          <p:nvPr userDrawn="1"/>
        </p:nvCxnSpPr>
        <p:spPr>
          <a:xfrm flipV="1">
            <a:off x="456154" y="1883268"/>
            <a:ext cx="1883060" cy="15859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56FDF9E-F657-45F7-BA14-B987BA418119}"/>
              </a:ext>
            </a:extLst>
          </p:cNvPr>
          <p:cNvCxnSpPr>
            <a:cxnSpLocks/>
          </p:cNvCxnSpPr>
          <p:nvPr userDrawn="1"/>
        </p:nvCxnSpPr>
        <p:spPr>
          <a:xfrm>
            <a:off x="6806256" y="1883266"/>
            <a:ext cx="1880545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DC5526-8193-4156-AD66-B3F25A7864AA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57200" y="2133602"/>
            <a:ext cx="1885951" cy="2187574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A6DA83A0-10E3-4ECF-8F23-2F5D2FCD66E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2571750" y="2133602"/>
            <a:ext cx="1885950" cy="2187574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7" name="Content Placeholder 6">
            <a:extLst>
              <a:ext uri="{FF2B5EF4-FFF2-40B4-BE49-F238E27FC236}">
                <a16:creationId xmlns:a16="http://schemas.microsoft.com/office/drawing/2014/main" id="{4E041CD3-FEAF-4253-96AD-882A762485B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4692331" y="2133601"/>
            <a:ext cx="1879919" cy="2187574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39CB0FEC-7B30-4336-992B-3ACB0C344D0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800178" y="2133601"/>
            <a:ext cx="1886623" cy="2187574"/>
          </a:xfrm>
        </p:spPr>
        <p:txBody>
          <a:bodyPr/>
          <a:lstStyle/>
          <a:p>
            <a:pPr lvl="0"/>
            <a:endParaRPr lang="en-US" dirty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4AE3ACF-2061-4B79-8D74-759D54AAC099}"/>
              </a:ext>
            </a:extLst>
          </p:cNvPr>
          <p:cNvCxnSpPr>
            <a:cxnSpLocks/>
          </p:cNvCxnSpPr>
          <p:nvPr userDrawn="1"/>
        </p:nvCxnSpPr>
        <p:spPr>
          <a:xfrm flipV="1">
            <a:off x="460090" y="4435475"/>
            <a:ext cx="4004513" cy="793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D7CC583-F7B9-4C1D-885E-FB1AF33F983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57200" y="1326644"/>
            <a:ext cx="1897982" cy="402497"/>
          </a:xfrm>
        </p:spPr>
        <p:txBody>
          <a:bodyPr/>
          <a:lstStyle/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50D4282B-99E4-422D-A5FA-88F15A992AD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566621" y="1336672"/>
            <a:ext cx="1897982" cy="402497"/>
          </a:xfrm>
        </p:spPr>
        <p:txBody>
          <a:bodyPr/>
          <a:lstStyle/>
          <a:p>
            <a:pPr lvl="2"/>
            <a:r>
              <a:rPr lang="en-US" dirty="0"/>
              <a:t>Third level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B107404E-D4A9-4A5D-99A6-20B83721762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86300" y="1325564"/>
            <a:ext cx="1897982" cy="402497"/>
          </a:xfrm>
        </p:spPr>
        <p:txBody>
          <a:bodyPr/>
          <a:lstStyle/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50C2A77E-CF6D-4860-8BBC-4F6D48473C9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05979" y="1325563"/>
            <a:ext cx="1897982" cy="402497"/>
          </a:xfrm>
        </p:spPr>
        <p:txBody>
          <a:bodyPr/>
          <a:lstStyle/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6163DF67-06B0-4E98-90EB-4D36E7CC7F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1" y="4555652"/>
            <a:ext cx="4007402" cy="127364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E532A72-BA87-42EB-8FF9-D31839E00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80AABF3-D2C2-44D4-B6A5-59C8BA3DA04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3841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EFCACF-8DEB-4D99-B351-012A310B9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17096F-F0A6-4850-8A8D-49B87F55E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45AE6B8-A593-4E21-A369-C5AC53BAAAD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5284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 with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54249F6-BDC3-4E58-9F83-F0ACDD41C86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435475"/>
            <a:ext cx="4000501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757423-BEFA-4A8D-809E-3207CBC9CEC7}"/>
              </a:ext>
            </a:extLst>
          </p:cNvPr>
          <p:cNvCxnSpPr>
            <a:cxnSpLocks/>
          </p:cNvCxnSpPr>
          <p:nvPr userDrawn="1"/>
        </p:nvCxnSpPr>
        <p:spPr>
          <a:xfrm>
            <a:off x="446060" y="1678549"/>
            <a:ext cx="1442001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DC5526-8193-4156-AD66-B3F25A7864AA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57200" y="1831461"/>
            <a:ext cx="1438496" cy="248971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A6DA83A0-10E3-4ECF-8F23-2F5D2FCD66E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2160675" y="1831461"/>
            <a:ext cx="1426166" cy="248971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7" name="Content Placeholder 6">
            <a:extLst>
              <a:ext uri="{FF2B5EF4-FFF2-40B4-BE49-F238E27FC236}">
                <a16:creationId xmlns:a16="http://schemas.microsoft.com/office/drawing/2014/main" id="{4E041CD3-FEAF-4253-96AD-882A762485B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851821" y="1831460"/>
            <a:ext cx="1433162" cy="248971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39CB0FEC-7B30-4336-992B-3ACB0C344D04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5549962" y="1831460"/>
            <a:ext cx="1447446" cy="2489715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9FAC6C89-7B20-43B7-B3C4-19C89AD34EFB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7262388" y="1828801"/>
            <a:ext cx="1424413" cy="2489715"/>
          </a:xfrm>
        </p:spPr>
        <p:txBody>
          <a:bodyPr/>
          <a:lstStyle/>
          <a:p>
            <a:pPr lvl="0"/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215B015-1521-40C4-9EE2-688076F889CB}"/>
              </a:ext>
            </a:extLst>
          </p:cNvPr>
          <p:cNvCxnSpPr>
            <a:cxnSpLocks/>
          </p:cNvCxnSpPr>
          <p:nvPr userDrawn="1"/>
        </p:nvCxnSpPr>
        <p:spPr>
          <a:xfrm flipV="1">
            <a:off x="2185153" y="1676401"/>
            <a:ext cx="1426166" cy="4483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01D7C26-98D9-4209-B523-D79842C37BD3}"/>
              </a:ext>
            </a:extLst>
          </p:cNvPr>
          <p:cNvCxnSpPr>
            <a:cxnSpLocks/>
          </p:cNvCxnSpPr>
          <p:nvPr userDrawn="1"/>
        </p:nvCxnSpPr>
        <p:spPr>
          <a:xfrm>
            <a:off x="3876781" y="1678549"/>
            <a:ext cx="1433162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073F467-E85C-43E1-A732-5C8682B783AD}"/>
              </a:ext>
            </a:extLst>
          </p:cNvPr>
          <p:cNvCxnSpPr>
            <a:cxnSpLocks/>
          </p:cNvCxnSpPr>
          <p:nvPr userDrawn="1"/>
        </p:nvCxnSpPr>
        <p:spPr>
          <a:xfrm>
            <a:off x="5568707" y="1676400"/>
            <a:ext cx="1454142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B057A75-1192-451B-9435-9DA39F7E9D48}"/>
              </a:ext>
            </a:extLst>
          </p:cNvPr>
          <p:cNvCxnSpPr>
            <a:cxnSpLocks/>
          </p:cNvCxnSpPr>
          <p:nvPr userDrawn="1"/>
        </p:nvCxnSpPr>
        <p:spPr>
          <a:xfrm>
            <a:off x="7260634" y="1676400"/>
            <a:ext cx="1426166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9455DC86-5C5D-491B-95A4-94BD07201B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1325564"/>
            <a:ext cx="1430861" cy="350837"/>
          </a:xfrm>
        </p:spPr>
        <p:txBody>
          <a:bodyPr/>
          <a:lstStyle/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398BC0D-EA07-49B1-ADA5-E003BE599F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190802" y="1325564"/>
            <a:ext cx="1430861" cy="350837"/>
          </a:xfrm>
        </p:spPr>
        <p:txBody>
          <a:bodyPr/>
          <a:lstStyle/>
          <a:p>
            <a:pPr lvl="3"/>
            <a:r>
              <a:rPr lang="en-US" dirty="0"/>
              <a:t>Fourth level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51684247-230F-4E76-B90D-2F5EC472FD3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76781" y="1325564"/>
            <a:ext cx="1430861" cy="350837"/>
          </a:xfrm>
        </p:spPr>
        <p:txBody>
          <a:bodyPr/>
          <a:lstStyle/>
          <a:p>
            <a:pPr lvl="3"/>
            <a:r>
              <a:rPr lang="en-US" dirty="0"/>
              <a:t>Fourth level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69D74049-7BB6-4C31-BBF4-377A0E77F5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73867" y="1325563"/>
            <a:ext cx="1430861" cy="350837"/>
          </a:xfrm>
        </p:spPr>
        <p:txBody>
          <a:bodyPr/>
          <a:lstStyle/>
          <a:p>
            <a:pPr lvl="3"/>
            <a:r>
              <a:rPr lang="en-US" dirty="0"/>
              <a:t>Fourth level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96D34C0E-3663-4FF3-B67F-9E037FDC1C9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58287" y="1325564"/>
            <a:ext cx="1430861" cy="350837"/>
          </a:xfrm>
        </p:spPr>
        <p:txBody>
          <a:bodyPr/>
          <a:lstStyle/>
          <a:p>
            <a:pPr lvl="3"/>
            <a:r>
              <a:rPr lang="en-US" dirty="0"/>
              <a:t>Fourth level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E2E8B83-2D0F-4111-8B20-F9197B7E244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7201" y="4572000"/>
            <a:ext cx="4000500" cy="12573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94D1E21-4BE9-4377-9E98-127A62952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FEF0D9D6-C7D5-4E58-851A-4B76A451AD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24651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mage with text overl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1828800"/>
            <a:ext cx="4012532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FC33B76-6818-4846-B129-3B12E41634B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86300" y="1325563"/>
            <a:ext cx="4000500" cy="4503737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78F8D0C-5DFD-41A6-9B68-30424E79AA4C}"/>
              </a:ext>
            </a:extLst>
          </p:cNvPr>
          <p:cNvCxnSpPr>
            <a:cxnSpLocks/>
          </p:cNvCxnSpPr>
          <p:nvPr userDrawn="1"/>
        </p:nvCxnSpPr>
        <p:spPr>
          <a:xfrm>
            <a:off x="424830" y="4435475"/>
            <a:ext cx="4012532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66CC59-AE88-452A-922E-16E475599D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1963" y="2286000"/>
            <a:ext cx="4000500" cy="1501776"/>
          </a:xfrm>
        </p:spPr>
        <p:txBody>
          <a:bodyPr/>
          <a:lstStyle/>
          <a:p>
            <a:pPr lvl="8"/>
            <a:r>
              <a:rPr lang="en-US" dirty="0"/>
              <a:t>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BD354F5-DBA5-475C-9FE2-837AB5ED8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541D315-A6BB-4AE6-8098-B273DEEEB4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91569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1752600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FC33B76-6818-4846-B129-3B12E41634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86300" y="1325563"/>
            <a:ext cx="4000500" cy="450373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1692361-332D-47EC-A6C9-1D96B250B04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7201" y="1828800"/>
            <a:ext cx="4000500" cy="40005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57318F9-BD68-4689-B48F-70CB3920B9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7200" y="1340498"/>
            <a:ext cx="4000500" cy="335902"/>
          </a:xfrm>
        </p:spPr>
        <p:txBody>
          <a:bodyPr/>
          <a:lstStyle/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DDE503-6E4A-46D8-A61E-DEFDBF7DB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7BC8B15-E40C-4DEB-8BAD-2D3DC2858D9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594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686300" y="1752600"/>
            <a:ext cx="4021834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FC33B76-6818-4846-B129-3B12E41634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325562"/>
            <a:ext cx="4000500" cy="45037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79">
            <a:extLst>
              <a:ext uri="{FF2B5EF4-FFF2-40B4-BE49-F238E27FC236}">
                <a16:creationId xmlns:a16="http://schemas.microsoft.com/office/drawing/2014/main" id="{83FA84F9-9782-4893-9AAC-1D05926800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86300" y="1876441"/>
            <a:ext cx="4021834" cy="611639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6"/>
            <a:r>
              <a:rPr lang="en-US" dirty="0"/>
              <a:t>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069F23F-8F88-471D-961D-DD1F9D5D37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02871" y="1349724"/>
            <a:ext cx="4000500" cy="280988"/>
          </a:xfrm>
        </p:spPr>
        <p:txBody>
          <a:bodyPr/>
          <a:lstStyle/>
          <a:p>
            <a:pPr lvl="4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B29AFE6-0A1D-4C3D-8477-2D438C89F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2BC7149-7D69-426D-9C06-2DE1FDD12A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62463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scape visua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4701540"/>
            <a:ext cx="4005263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FC33B76-6818-4846-B129-3B12E41634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1" y="1325564"/>
            <a:ext cx="8229600" cy="31099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4CF148F-75E5-423B-BB18-089817345EC4}"/>
              </a:ext>
            </a:extLst>
          </p:cNvPr>
          <p:cNvCxnSpPr>
            <a:cxnSpLocks/>
          </p:cNvCxnSpPr>
          <p:nvPr userDrawn="1"/>
        </p:nvCxnSpPr>
        <p:spPr>
          <a:xfrm>
            <a:off x="4686300" y="4701540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66DCEFE-FA45-42F1-BEEA-872521C2A69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7201" y="4800600"/>
            <a:ext cx="4000500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F206130-76EA-4F85-B331-E2B32A2F959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86300" y="4808855"/>
            <a:ext cx="4000500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BA55D37-E1A0-4202-B2A7-973CAA931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D64A2C-F42D-44D9-8C65-9443738A14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26599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a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C49BEDF-64E1-4C42-9BDA-FBC7F7987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2879725"/>
            <a:ext cx="9137684" cy="1555750"/>
          </a:xfrm>
          <a:gradFill>
            <a:gsLst>
              <a:gs pos="46000">
                <a:srgbClr val="15CE9D"/>
              </a:gs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</p:spPr>
        <p:txBody>
          <a:bodyPr lIns="640080" tIns="9144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6137BCB-F0B3-4AE2-876F-960BB3717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C4517CA-8E83-4A8A-8CB7-D0AC7044E99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80386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 bars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C49BEDF-64E1-4C42-9BDA-FBC7F7987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2171701"/>
            <a:ext cx="4006817" cy="619537"/>
          </a:xfrm>
          <a:solidFill>
            <a:schemeClr val="tx1"/>
          </a:solidFill>
        </p:spPr>
        <p:txBody>
          <a:bodyPr lIns="9144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1B56F07-FF5D-4E1F-A061-A7BB2444FD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3060701"/>
            <a:ext cx="4006817" cy="619537"/>
          </a:xfrm>
          <a:solidFill>
            <a:schemeClr val="accent2"/>
          </a:solidFill>
        </p:spPr>
        <p:txBody>
          <a:bodyPr lIns="9144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07A9B6C-355B-4076-8A84-357E724D39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7200" y="3949701"/>
            <a:ext cx="4006817" cy="619537"/>
          </a:xfrm>
          <a:solidFill>
            <a:schemeClr val="accent3"/>
          </a:solidFill>
        </p:spPr>
        <p:txBody>
          <a:bodyPr lIns="9144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53DE6D0-4378-4DBB-BA9A-8551D0C039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200" y="4838701"/>
            <a:ext cx="4006817" cy="619537"/>
          </a:xfrm>
          <a:solidFill>
            <a:schemeClr val="accent4"/>
          </a:solidFill>
        </p:spPr>
        <p:txBody>
          <a:bodyPr lIns="9144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0847E07-E78A-4565-91A2-6DAB02BD2F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4D8929-23A1-4D44-8198-6FCDB9BB773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86300" y="1325564"/>
            <a:ext cx="4000500" cy="466407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298C1BE-2220-4719-BE70-CB9B2DA450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66489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with callou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8D39DC-91C6-43BD-8A55-BAEE82A7660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71750" y="1325564"/>
            <a:ext cx="6115050" cy="466407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C49BEDF-64E1-4C42-9BDA-FBC7F79870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43200"/>
            <a:ext cx="4070747" cy="419512"/>
          </a:xfrm>
          <a:solidFill>
            <a:schemeClr val="tx1"/>
          </a:solidFill>
        </p:spPr>
        <p:txBody>
          <a:bodyPr lIns="9144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C695565-FA8C-42C2-BA5C-8BA1C30EB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6FC0712-71C0-422F-B567-95DE07F51B5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43483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scape visual/four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4435475"/>
            <a:ext cx="1868618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FC33B76-6818-4846-B129-3B12E41634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325563"/>
            <a:ext cx="1885950" cy="27035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3AF7B92-2285-411E-960A-2B2BF7777E9F}"/>
              </a:ext>
            </a:extLst>
          </p:cNvPr>
          <p:cNvCxnSpPr>
            <a:cxnSpLocks/>
          </p:cNvCxnSpPr>
          <p:nvPr userDrawn="1"/>
        </p:nvCxnSpPr>
        <p:spPr>
          <a:xfrm>
            <a:off x="2571750" y="443547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2EFB9E-9833-4FB2-B4BF-8BB834BC3796}"/>
              </a:ext>
            </a:extLst>
          </p:cNvPr>
          <p:cNvCxnSpPr>
            <a:cxnSpLocks/>
          </p:cNvCxnSpPr>
          <p:nvPr userDrawn="1"/>
        </p:nvCxnSpPr>
        <p:spPr>
          <a:xfrm>
            <a:off x="4686300" y="443547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F7FA78-5086-4348-9D65-718D4D81110F}"/>
              </a:ext>
            </a:extLst>
          </p:cNvPr>
          <p:cNvCxnSpPr>
            <a:cxnSpLocks/>
          </p:cNvCxnSpPr>
          <p:nvPr userDrawn="1"/>
        </p:nvCxnSpPr>
        <p:spPr>
          <a:xfrm>
            <a:off x="6800850" y="443547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A19100-2536-43E0-BB4B-852AC9ADCC3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7201" y="4572635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64668E4-BCEC-4091-86E0-C10518A7A7A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571751" y="4572635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AA0D90D-C6AD-4F0B-B86B-64ABF56E61A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86302" y="4572635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2F91478-4682-4AEA-ADBA-3D81ECC33DE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800851" y="4572635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912704C-C51A-4CD0-B533-4D074533F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94B08EE6-62C3-4AE3-BDC4-C7FAF31C7A0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571750" y="1325563"/>
            <a:ext cx="1885950" cy="27035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2100158E-92DB-4A28-9B7B-D9490480539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686300" y="1325563"/>
            <a:ext cx="1885950" cy="27035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29E13ED8-E1EC-4DE4-A356-7F5DB7D27C2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800849" y="1325563"/>
            <a:ext cx="1885950" cy="270355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55C16D7E-8852-466C-9C58-49EB9E7086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44786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ndscape visual/four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4663440"/>
            <a:ext cx="400050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FA19100-2536-43E0-BB4B-852AC9ADCC3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7201" y="4800600"/>
            <a:ext cx="400049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912704C-C51A-4CD0-B533-4D074533F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DFF62C-7BE7-49B6-982B-424450A8655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1325563"/>
            <a:ext cx="8229600" cy="3109912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8E3D2FB-F8B0-4C9C-8456-518C4982F7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0690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EFCACF-8DEB-4D99-B351-012A310B9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CF5F0D-6C04-4DA0-9245-C3BDE338EB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1" y="1325563"/>
            <a:ext cx="8229599" cy="450373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3ED7840-6839-43AD-A9E8-A62FD8F40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D7E6B1C-25D2-4134-93EA-EE3A7A570E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7533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/four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C5874A-4D34-4612-83B8-805C5F995B01}"/>
              </a:ext>
            </a:extLst>
          </p:cNvPr>
          <p:cNvCxnSpPr>
            <a:cxnSpLocks/>
          </p:cNvCxnSpPr>
          <p:nvPr userDrawn="1"/>
        </p:nvCxnSpPr>
        <p:spPr>
          <a:xfrm>
            <a:off x="457200" y="4663440"/>
            <a:ext cx="1857375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FC33B76-6818-4846-B129-3B12E41634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325564"/>
            <a:ext cx="4000500" cy="31099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3AF7B92-2285-411E-960A-2B2BF7777E9F}"/>
              </a:ext>
            </a:extLst>
          </p:cNvPr>
          <p:cNvCxnSpPr>
            <a:cxnSpLocks/>
          </p:cNvCxnSpPr>
          <p:nvPr userDrawn="1"/>
        </p:nvCxnSpPr>
        <p:spPr>
          <a:xfrm>
            <a:off x="2571750" y="4663440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2EFB9E-9833-4FB2-B4BF-8BB834BC3796}"/>
              </a:ext>
            </a:extLst>
          </p:cNvPr>
          <p:cNvCxnSpPr>
            <a:cxnSpLocks/>
          </p:cNvCxnSpPr>
          <p:nvPr userDrawn="1"/>
        </p:nvCxnSpPr>
        <p:spPr>
          <a:xfrm>
            <a:off x="4686300" y="4663440"/>
            <a:ext cx="1885951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F7FA78-5086-4348-9D65-718D4D81110F}"/>
              </a:ext>
            </a:extLst>
          </p:cNvPr>
          <p:cNvCxnSpPr>
            <a:cxnSpLocks/>
          </p:cNvCxnSpPr>
          <p:nvPr userDrawn="1"/>
        </p:nvCxnSpPr>
        <p:spPr>
          <a:xfrm>
            <a:off x="6800850" y="4663440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66CEE03A-4B4E-421C-9422-A82129FB7AB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686300" y="1325564"/>
            <a:ext cx="4000500" cy="31099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1B9533A8-7CBB-460D-B84D-85504B6608A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7201" y="4800600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D66F691-B269-46E9-973B-87761372545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571751" y="4800600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EBEFF15-76B9-42FC-978F-46D74B2662B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686302" y="4800600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2E0628A-AA4E-4A47-A644-7ED7142E260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800851" y="4800600"/>
            <a:ext cx="1885949" cy="10287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7B1C866-DCDD-44AA-9932-D0DAB1C6B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0C2E6DD2-681F-48C3-81F9-871D69E0F5A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57524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dscape with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22377227-DAFE-4EB0-90FC-31CD25DA275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2571751" y="4612140"/>
            <a:ext cx="6115050" cy="1217161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700">
                <a:latin typeface="+mj-lt"/>
              </a:defRPr>
            </a:lvl1pPr>
          </a:lstStyle>
          <a:p>
            <a:pPr lvl="0"/>
            <a:r>
              <a:rPr lang="en-US" dirty="0"/>
              <a:t>Edit Master text styles large headline with gradient on key word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85305A-8F7A-447C-9126-E30FAA1C3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7FFA34-BB63-4B06-A138-117851B262E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57200" y="1325563"/>
            <a:ext cx="8229600" cy="3109912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101DED97-96EC-45BB-A236-790D0E6477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08375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large im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DE3409-610B-4B65-8174-E4D1D64AB81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0" y="1325564"/>
            <a:ext cx="9144000" cy="466407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F0AE882F-EB2F-44A7-96D3-7BDF7D87D94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57200" y="2362200"/>
            <a:ext cx="3612482" cy="2362200"/>
          </a:xfrm>
          <a:solidFill>
            <a:schemeClr val="bg1">
              <a:alpha val="72000"/>
            </a:schemeClr>
          </a:solidFill>
        </p:spPr>
        <p:txBody>
          <a:bodyPr lIns="182880" tIns="182880" rIns="182880" bIns="182880">
            <a:noAutofit/>
          </a:bodyPr>
          <a:lstStyle>
            <a:lvl1pPr marL="0" indent="0">
              <a:buFontTx/>
              <a:buNone/>
              <a:defRPr sz="2700">
                <a:latin typeface="+mj-lt"/>
              </a:defRPr>
            </a:lvl1pPr>
          </a:lstStyle>
          <a:p>
            <a:pPr lvl="0"/>
            <a:r>
              <a:rPr lang="en-US" dirty="0"/>
              <a:t>Edit Master text styles large headline with gradient on key word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30036DB-52FF-43F8-9DC2-F7E76BD4A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62826CA-EFB9-425B-BDC8-F43EC3DC5C6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65427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218F495-60A0-4E40-9E3C-BC4DC056B8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7201" y="1338994"/>
            <a:ext cx="1885949" cy="450373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3083BFA-6120-466B-B1E3-1A96B3542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FD4E848-D210-4196-A0C9-0ECDC045DB5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571750" y="1325564"/>
            <a:ext cx="6115050" cy="466407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C07F6FE-4024-4B56-8874-84E6DA9F2A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58562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image with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218F495-60A0-4E40-9E3C-BC4DC056B8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802610" y="1340803"/>
            <a:ext cx="1885949" cy="450373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A07956-0998-4E36-9D9C-1CE8DA5CE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6309899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999D58-DE5B-4F89-A186-5D66222BF6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1325564"/>
            <a:ext cx="6115050" cy="46640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1585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ransparent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BC28D0C-410B-4E80-9326-20E41EA582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325563"/>
            <a:ext cx="9144000" cy="46718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9">
            <a:extLst>
              <a:ext uri="{FF2B5EF4-FFF2-40B4-BE49-F238E27FC236}">
                <a16:creationId xmlns:a16="http://schemas.microsoft.com/office/drawing/2014/main" id="{55BC18F3-D3C5-47CC-8494-A03073300B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7200" y="1790700"/>
            <a:ext cx="4000500" cy="3467100"/>
          </a:xfrm>
          <a:solidFill>
            <a:schemeClr val="bg1">
              <a:alpha val="57000"/>
            </a:schemeClr>
          </a:solidFill>
        </p:spPr>
        <p:txBody>
          <a:bodyPr lIns="91440" tIns="91440">
            <a:noAutofit/>
          </a:bodyPr>
          <a:lstStyle>
            <a:lvl1pPr marL="0" indent="0">
              <a:buClr>
                <a:schemeClr val="accent3"/>
              </a:buClr>
              <a:buFont typeface="Averta" panose="00000500000000000000" pitchFamily="2" charset="0"/>
              <a:buNone/>
              <a:defRPr sz="900"/>
            </a:lvl1pPr>
          </a:lstStyle>
          <a:p>
            <a:pPr lvl="2"/>
            <a:r>
              <a:rPr lang="en-US" dirty="0"/>
              <a:t>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C6117F7-F368-45D7-A81E-CDF59653C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A04892F-A9A5-473E-923B-DBAF6F9C10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86940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with transparent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1563C78-986F-4A45-B335-EA5AAEE861E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325564"/>
            <a:ext cx="9144000" cy="466407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9">
            <a:extLst>
              <a:ext uri="{FF2B5EF4-FFF2-40B4-BE49-F238E27FC236}">
                <a16:creationId xmlns:a16="http://schemas.microsoft.com/office/drawing/2014/main" id="{55BC18F3-D3C5-47CC-8494-A03073300B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86300" y="2879724"/>
            <a:ext cx="4000500" cy="2606676"/>
          </a:xfrm>
          <a:solidFill>
            <a:schemeClr val="bg1">
              <a:alpha val="87000"/>
            </a:schemeClr>
          </a:solidFill>
        </p:spPr>
        <p:txBody>
          <a:bodyPr lIns="91440" tIns="91440">
            <a:noAutofit/>
          </a:bodyPr>
          <a:lstStyle>
            <a:lvl1pPr marL="0" indent="0">
              <a:buClr>
                <a:schemeClr val="accent3"/>
              </a:buClr>
              <a:buFont typeface="Averta" panose="00000500000000000000" pitchFamily="2" charset="0"/>
              <a:buNone/>
              <a:defRPr sz="900"/>
            </a:lvl1pPr>
          </a:lstStyle>
          <a:p>
            <a:pPr lvl="2"/>
            <a:r>
              <a:rPr lang="en-US" dirty="0"/>
              <a:t>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C6117F7-F368-45D7-A81E-CDF59653C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002F4AC-419C-43B1-984D-289744970E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47453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ransparent text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8DBDF8-6F0B-4C2E-97F1-B1339B34FD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325564"/>
            <a:ext cx="9144000" cy="466407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79">
            <a:extLst>
              <a:ext uri="{FF2B5EF4-FFF2-40B4-BE49-F238E27FC236}">
                <a16:creationId xmlns:a16="http://schemas.microsoft.com/office/drawing/2014/main" id="{EDA03AB7-27EB-437D-AC18-879BF9D0CE7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7200" y="1325563"/>
            <a:ext cx="4000500" cy="2819400"/>
          </a:xfrm>
          <a:solidFill>
            <a:schemeClr val="bg1">
              <a:alpha val="85000"/>
            </a:schemeClr>
          </a:solidFill>
        </p:spPr>
        <p:txBody>
          <a:bodyPr lIns="91440" tIns="91440">
            <a:noAutofit/>
          </a:bodyPr>
          <a:lstStyle>
            <a:lvl1pPr marL="0" indent="0">
              <a:buClr>
                <a:schemeClr val="accent3"/>
              </a:buClr>
              <a:buFont typeface="Averta" panose="00000500000000000000" pitchFamily="2" charset="0"/>
              <a:buNone/>
              <a:defRPr sz="900"/>
            </a:lvl1pPr>
          </a:lstStyle>
          <a:p>
            <a:pPr lvl="2"/>
            <a:r>
              <a:rPr lang="en-US" dirty="0"/>
              <a:t>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DE4A0A-6AEA-4A08-97B1-10D5278DE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9DE9EA2-9CF1-4588-B61B-7B76FDF8282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56408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gradient callou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6630353-36EB-42AB-8C13-31CDE41351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325563"/>
            <a:ext cx="4457700" cy="389696"/>
          </a:xfrm>
          <a:gradFill>
            <a:gsLst>
              <a:gs pos="46000">
                <a:srgbClr val="15CE9D"/>
              </a:gs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</p:spPr>
        <p:txBody>
          <a:bodyPr lIns="182880" rIns="91440" anchor="ctr" anchorCtr="0"/>
          <a:lstStyle>
            <a:lvl2pPr marL="34290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Edit Master text style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07F580-23D4-4C3E-AF65-D9FD792F1CD8}"/>
              </a:ext>
            </a:extLst>
          </p:cNvPr>
          <p:cNvSpPr txBox="1"/>
          <p:nvPr userDrawn="1"/>
        </p:nvSpPr>
        <p:spPr>
          <a:xfrm>
            <a:off x="1" y="-2095500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35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6EE0B79-E84E-4512-B9B8-D4BBF713623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7201" y="1897063"/>
            <a:ext cx="4000499" cy="34671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BD54DBC-88DA-42C3-8487-928BA9575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CF18BC-83FD-416C-B890-2AB4C66D148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686300" y="1325564"/>
            <a:ext cx="4000500" cy="466407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F6C3A4A-C997-48C9-B66D-13C2FAFDCA8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8693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with gradient callout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6630353-36EB-42AB-8C13-31CDE41351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6299" y="1325563"/>
            <a:ext cx="4444286" cy="389696"/>
          </a:xfrm>
          <a:gradFill>
            <a:gsLst>
              <a:gs pos="46000">
                <a:srgbClr val="15CE9D"/>
              </a:gs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</p:spPr>
        <p:txBody>
          <a:bodyPr lIns="0" rIns="91440" anchor="ctr" anchorCtr="0"/>
          <a:lstStyle>
            <a:lvl2pPr marL="13716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Edit Master text style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07F580-23D4-4C3E-AF65-D9FD792F1CD8}"/>
              </a:ext>
            </a:extLst>
          </p:cNvPr>
          <p:cNvSpPr txBox="1"/>
          <p:nvPr userDrawn="1"/>
        </p:nvSpPr>
        <p:spPr>
          <a:xfrm>
            <a:off x="1" y="-2095500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35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903E1A7-2ECB-4DBA-BEAF-C1FBB65E043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86301" y="1905000"/>
            <a:ext cx="4000499" cy="3467100"/>
          </a:xfrm>
        </p:spPr>
        <p:txBody>
          <a:bodyPr/>
          <a:lstStyle>
            <a:lvl1pPr>
              <a:defRPr>
                <a:solidFill>
                  <a:srgbClr val="0064C8"/>
                </a:solidFill>
              </a:defRPr>
            </a:lvl1pPr>
            <a:lvl2pPr>
              <a:defRPr>
                <a:solidFill>
                  <a:srgbClr val="0064C8"/>
                </a:solidFill>
              </a:defRPr>
            </a:lvl2pPr>
            <a:lvl3pPr>
              <a:defRPr>
                <a:solidFill>
                  <a:srgbClr val="0064C8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FC5C9D8-12AD-4140-813F-EC904031D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57429C9-9CA3-4D46-85A8-05B157FD3B0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7200" y="1325564"/>
            <a:ext cx="4000500" cy="46640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0BA8D6C-7536-4DF6-938B-1B484C1158D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3942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EFCACF-8DEB-4D99-B351-012A310B9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CF5F0D-6C04-4DA0-9245-C3BDE338EB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1" y="1790700"/>
            <a:ext cx="4000500" cy="40386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8667528-F57C-4436-91E5-06B0EA15B0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6301" y="1790700"/>
            <a:ext cx="4000500" cy="40386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17FCF7B-EC9E-4F26-B428-38F72A545C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D6D8AEA-DEC3-4629-BB8C-498FE87108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37982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C49BEDF-64E1-4C42-9BDA-FBC7F79870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90701"/>
            <a:ext cx="9137684" cy="2644775"/>
          </a:xfrm>
          <a:gradFill>
            <a:gsLst>
              <a:gs pos="46000">
                <a:srgbClr val="15CE9D"/>
              </a:gs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</p:spPr>
        <p:txBody>
          <a:bodyPr lIns="640080" anchor="ctr" anchorCtr="0"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9pPr>
              <a:defRPr>
                <a:solidFill>
                  <a:schemeClr val="bg1"/>
                </a:solidFill>
              </a:defRPr>
            </a:lvl9pPr>
          </a:lstStyle>
          <a:p>
            <a:pPr lvl="8"/>
            <a:r>
              <a:rPr lang="en-US" dirty="0"/>
              <a:t>section intro headli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85DBE9E-1605-4339-8DA1-33A0206B7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4C992F5-4214-4DC7-B5B1-DD41FE475C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25061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678" y="2878906"/>
            <a:ext cx="4099718" cy="124367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SENTATION TITLE</a:t>
            </a:r>
            <a:endParaRPr lang="en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78" y="4436707"/>
            <a:ext cx="4099718" cy="17526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375"/>
              </a:spcAft>
              <a:buNone/>
              <a:defRPr sz="1500" baseline="0">
                <a:solidFill>
                  <a:schemeClr val="accent2"/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Information, Conference and Dat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206000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680" y="1878036"/>
            <a:ext cx="4099718" cy="1471083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ts val="2375"/>
              </a:lnSpc>
              <a:defRPr sz="25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  <a:endParaRPr lang="en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9679" y="3429000"/>
            <a:ext cx="4099719" cy="175154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5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cap="all" baseline="0">
                <a:solidFill>
                  <a:schemeClr val="bg1"/>
                </a:solidFill>
              </a:defRPr>
            </a:lvl1pPr>
            <a:lvl2pPr marL="285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71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57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428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000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220475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679" y="382326"/>
            <a:ext cx="8380677" cy="945885"/>
          </a:xfrm>
        </p:spPr>
        <p:txBody>
          <a:bodyPr/>
          <a:lstStyle>
            <a:lvl1pPr>
              <a:lnSpc>
                <a:spcPts val="2250"/>
              </a:lnSpc>
              <a:spcAft>
                <a:spcPts val="0"/>
              </a:spcAft>
              <a:defRPr sz="2250"/>
            </a:lvl1pPr>
            <a:lvl2pPr>
              <a:spcBef>
                <a:spcPts val="375"/>
              </a:spcBef>
              <a:spcAft>
                <a:spcPts val="0"/>
              </a:spcAft>
              <a:defRPr sz="15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592577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9678" y="1714499"/>
            <a:ext cx="4099718" cy="43801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679" y="382326"/>
            <a:ext cx="8380677" cy="945885"/>
          </a:xfrm>
        </p:spPr>
        <p:txBody>
          <a:bodyPr/>
          <a:lstStyle>
            <a:lvl1pPr>
              <a:lnSpc>
                <a:spcPts val="2250"/>
              </a:lnSpc>
              <a:spcAft>
                <a:spcPts val="0"/>
              </a:spcAft>
              <a:defRPr sz="2250"/>
            </a:lvl1pPr>
            <a:lvl2pPr>
              <a:spcBef>
                <a:spcPts val="375"/>
              </a:spcBef>
              <a:spcAft>
                <a:spcPts val="0"/>
              </a:spcAft>
              <a:defRPr sz="15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  <a:endParaRPr lang="en-C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661960" y="1714501"/>
            <a:ext cx="4482043" cy="4380178"/>
          </a:xfrm>
        </p:spPr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313658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9678" y="1714499"/>
            <a:ext cx="4099718" cy="43801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679" y="382326"/>
            <a:ext cx="8392583" cy="945885"/>
          </a:xfrm>
        </p:spPr>
        <p:txBody>
          <a:bodyPr/>
          <a:lstStyle>
            <a:lvl1pPr>
              <a:lnSpc>
                <a:spcPts val="2250"/>
              </a:lnSpc>
              <a:spcAft>
                <a:spcPts val="0"/>
              </a:spcAft>
              <a:defRPr sz="2250"/>
            </a:lvl1pPr>
            <a:lvl2pPr>
              <a:spcBef>
                <a:spcPts val="375"/>
              </a:spcBef>
              <a:spcAft>
                <a:spcPts val="0"/>
              </a:spcAft>
              <a:defRPr sz="15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  <a:endParaRPr lang="en-C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661958" y="1714501"/>
            <a:ext cx="1959240" cy="4380178"/>
          </a:xfrm>
        </p:spPr>
        <p:txBody>
          <a:bodyPr/>
          <a:lstStyle/>
          <a:p>
            <a:endParaRPr lang="en-CA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02438" y="1714500"/>
            <a:ext cx="1957917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802438" y="2148612"/>
            <a:ext cx="1957917" cy="3946069"/>
          </a:xfrm>
        </p:spPr>
        <p:txBody>
          <a:bodyPr/>
          <a:lstStyle>
            <a:lvl1pPr>
              <a:lnSpc>
                <a:spcPts val="1750"/>
              </a:lnSpc>
              <a:defRPr sz="1375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817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5F3E-A6DD-4AFF-A8C7-4E9940F1D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3CB393-0F52-4864-B662-EC7CC6D1A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249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icture 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EFCACF-8DEB-4D99-B351-012A310B9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CF5F0D-6C04-4DA0-9245-C3BDE338EB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7175" y="2656767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A7A67682-29EB-40FA-BE20-633BFD3555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5115" y="1325564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C34EDD2-0562-4614-AE70-9DDF8F5F52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391053" y="1325564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E0736F38-84E0-4DC4-9035-724CF9C496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176990" y="1325564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70DE5E6-D3F0-4278-B943-6240FC0C0E8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62928" y="1347866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D151A662-305E-442A-86E0-2549D8320B9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748865" y="1347866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1C2DACE7-341D-4DA6-81C4-F4AD422A7EE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5115" y="3533100"/>
            <a:ext cx="790020" cy="12410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9EFE73D-D1D8-4612-AC9E-0A1E34F00C7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391053" y="3533100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A48EA55-BADC-4E89-A4F2-CD3883D6117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8720" y="3533100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2B0C4AFE-A30C-4761-9421-549BC58AD6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962928" y="3533100"/>
            <a:ext cx="790020" cy="12410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0552C6E-5B01-44CA-A28C-2A27A778B2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748865" y="3542370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CC1DC13-7100-4BAC-8221-1C054E55647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43113" y="2656767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CB2C4AD-4A56-4088-AE56-C7CFCCAA10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29050" y="2656767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F6906E2-D181-4069-BB2E-D195F33BB1A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614988" y="2656767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E2295C71-DE8E-4A6F-BFC8-828263A8A7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00925" y="2656767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9D58915-57F0-47EA-A65F-0FDC2B3CCB2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61938" y="4864304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EAD4D09B-4B3F-4FCB-A7C0-CFEAE73FADC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47875" y="4864304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43C7CF1-DA18-462A-AC66-1CCB249114E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33813" y="4864304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897CC40D-2672-44C3-8FAE-92A842B056E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19750" y="4864304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07BE5C-75A4-479A-8083-4D2CCC03530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05688" y="4864304"/>
            <a:ext cx="1485900" cy="786182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D785571-38FA-4B2A-B1C3-21DD85EEE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AF184F80-8D4A-45D0-A355-90EB7C7475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44336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icture galler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EFCACF-8DEB-4D99-B351-012A310B9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CF5F0D-6C04-4DA0-9245-C3BDE338EB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9242" y="2687714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BBFF5009-4F9B-4AD2-923E-522943B0F99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84332" y="1325564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CD53AEE-5A8A-4418-AA26-FBBCE461C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70269" y="1325564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0097391-116C-493D-BB17-7CDD3EA31DB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56207" y="1347866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CCF97F99-E177-495B-A299-F8732F21C6E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2144" y="1347866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A910D09F-803B-4A1F-BEC5-01D1FD5434E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5115" y="3533100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1CA8BE96-6DB6-4074-ACCE-D143E13CCD7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391053" y="3533100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F69D79EA-79E9-47F8-A351-B113B1252CA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8720" y="3533100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80DF23D-E69A-44FE-9602-C0F4B22D3CD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962928" y="3533100"/>
            <a:ext cx="790020" cy="12410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19DDFB7-0D9E-4185-A362-85D42E008D8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748865" y="3542370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DD49FCE-089B-4EF4-9FAE-9A84CBC2EC8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52738" y="2703144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F5B8A26F-8A18-4F0A-8C6A-9A66A178EB0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64333" y="2703145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53745F8-EEDE-40B8-8F11-959D115514D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56879" y="2703144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0B27D76-0322-4252-855B-E49C058A05C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5656" y="4895250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F1EA5BA-E9AE-4384-BBF8-A48EF13617C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85963" y="4906963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9994BCE-F483-40FA-AC88-D1235DC0C69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776269" y="4906963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D763472-2CD5-4211-B3B4-69798281E40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57838" y="4895250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885FD3C-1B78-434D-9093-5A1C07C6469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43775" y="4906963"/>
            <a:ext cx="1600200" cy="503237"/>
          </a:xfrm>
        </p:spPr>
        <p:txBody>
          <a:bodyPr/>
          <a:lstStyle>
            <a:lvl3pPr algn="ctr">
              <a:defRPr sz="12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175DE5CB-53FE-4B6B-97D7-2D33D1E63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636BABA-9FEF-4214-B967-12E21B32B0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993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icture galler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EFCACF-8DEB-4D99-B351-012A310B9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836407B-096B-46C2-B21A-CF698B46BD0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84332" y="762001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7F1701D4-830A-44E7-970A-23B6464549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70269" y="762001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B7B506E8-83ED-43A6-B89C-899FE95995E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56207" y="784303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DB15714-0CBE-467D-B068-ECB79CA1B4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42144" y="784303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D5259D-734C-4FCE-958E-37E28973995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5115" y="2514601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CEB7F6E6-0623-45EA-A974-60C7F6B045C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391053" y="2514601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23E01099-B546-496A-B007-123B2E81126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78720" y="2514601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FD1EA3A-E62C-4A91-BAD9-0B8FF46F490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962928" y="2514601"/>
            <a:ext cx="790020" cy="12410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80DFFE4-9595-4A4D-9512-0EDF54DC82B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748865" y="2523872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EAA5D54E-1B8B-41AC-A74E-B4F0F8485E8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484332" y="4305203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AAD6E12E-5F3B-42C1-8F7B-421A034CA91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270269" y="4305203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07F9F8D8-8393-4C79-9D24-675BE7BE870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056207" y="4305203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D1E788F2-5163-4C44-A12B-07A4CF19304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842144" y="4305203"/>
            <a:ext cx="790020" cy="1241055"/>
          </a:xfrm>
        </p:spPr>
        <p:txBody>
          <a:bodyPr/>
          <a:lstStyle/>
          <a:p>
            <a:endParaRPr lang="en-US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B5C6F84-C3C7-4F75-A9DA-F902891233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70007" y="2079257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FE3A92EF-62C1-44FA-AA22-58F19A889A9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50904" y="2091957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9758BCAD-6B19-44D7-B012-56EEE2FE486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762904" y="2079257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2DE35B35-0772-49B5-B7EF-1D58A21599C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59079" y="2091957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266592B-CAE2-4C5C-85F2-5450D872AC0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50553" y="5602998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B4A3CA0-0448-4606-A529-9C97F46EC9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931451" y="5615698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5D619D2A-0839-43B3-B1CB-04C1EBCBC11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743450" y="5602998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92798CB-B989-49BA-9DCF-082FE9B6048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39626" y="5615698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915A780A-F7C7-42A5-B258-E5048657981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68778" y="3800632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C7DDACE6-0660-439E-8839-F75CDDE4494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049675" y="3813332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2132F18B-F599-49D7-99F0-D108E798544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861674" y="3800632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54EF8903-D649-4654-AEC1-37152AC5F41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57850" y="3813332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932CA296-34A0-4271-BA12-BCF837818AF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429500" y="3813332"/>
            <a:ext cx="1428750" cy="359144"/>
          </a:xfrm>
        </p:spPr>
        <p:txBody>
          <a:bodyPr/>
          <a:lstStyle>
            <a:lvl3pPr algn="ctr">
              <a:defRPr sz="900"/>
            </a:lvl3pPr>
          </a:lstStyle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A164D10C-9ECB-450D-8CF3-D5795FF52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7B8FB241-397A-4CA7-A23E-774CEAFB105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2899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E3685608-331C-4D22-9F9D-B72FDF31C277}"/>
              </a:ext>
            </a:extLst>
          </p:cNvPr>
          <p:cNvSpPr>
            <a:spLocks noGrp="1"/>
          </p:cNvSpPr>
          <p:nvPr>
            <p:ph type="dgm" sz="quarter" idx="26"/>
          </p:nvPr>
        </p:nvSpPr>
        <p:spPr>
          <a:xfrm>
            <a:off x="467040" y="1300163"/>
            <a:ext cx="8219760" cy="1528761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79">
            <a:extLst>
              <a:ext uri="{FF2B5EF4-FFF2-40B4-BE49-F238E27FC236}">
                <a16:creationId xmlns:a16="http://schemas.microsoft.com/office/drawing/2014/main" id="{E68A9C31-B4C0-4D25-BB72-49D6162E3B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7041" y="2989923"/>
            <a:ext cx="1266290" cy="631013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0"/>
            <a:r>
              <a:rPr lang="en-US" dirty="0"/>
              <a:t>Edit Master text styles </a:t>
            </a:r>
          </a:p>
        </p:txBody>
      </p:sp>
      <p:sp>
        <p:nvSpPr>
          <p:cNvPr id="16" name="Text Placeholder 79">
            <a:extLst>
              <a:ext uri="{FF2B5EF4-FFF2-40B4-BE49-F238E27FC236}">
                <a16:creationId xmlns:a16="http://schemas.microsoft.com/office/drawing/2014/main" id="{6A2CB2F0-D32D-4708-BDC7-92DB37CB01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20427" y="2989923"/>
            <a:ext cx="1310966" cy="631013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79">
            <a:extLst>
              <a:ext uri="{FF2B5EF4-FFF2-40B4-BE49-F238E27FC236}">
                <a16:creationId xmlns:a16="http://schemas.microsoft.com/office/drawing/2014/main" id="{6D94BA64-BFFF-4C93-A74C-C3A94504ECC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28329" y="2989923"/>
            <a:ext cx="1310966" cy="631013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79">
            <a:extLst>
              <a:ext uri="{FF2B5EF4-FFF2-40B4-BE49-F238E27FC236}">
                <a16:creationId xmlns:a16="http://schemas.microsoft.com/office/drawing/2014/main" id="{80B6F33B-1A9F-4163-89C2-0996E30F6C3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6231" y="2989923"/>
            <a:ext cx="1310966" cy="631013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79">
            <a:extLst>
              <a:ext uri="{FF2B5EF4-FFF2-40B4-BE49-F238E27FC236}">
                <a16:creationId xmlns:a16="http://schemas.microsoft.com/office/drawing/2014/main" id="{E4C8624B-6D66-40FA-BA51-E8A87E4290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44134" y="2989923"/>
            <a:ext cx="1310966" cy="631013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79">
            <a:extLst>
              <a:ext uri="{FF2B5EF4-FFF2-40B4-BE49-F238E27FC236}">
                <a16:creationId xmlns:a16="http://schemas.microsoft.com/office/drawing/2014/main" id="{C196D571-6843-4A2D-8BD2-428F52D6885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52034" y="2989923"/>
            <a:ext cx="1234766" cy="631013"/>
          </a:xfrm>
        </p:spPr>
        <p:txBody>
          <a:bodyPr lIns="0">
            <a:noAutofit/>
          </a:bodyPr>
          <a:lstStyle>
            <a:lvl1pPr marL="171450" indent="-171450">
              <a:buClr>
                <a:schemeClr val="accent3"/>
              </a:buClr>
              <a:buFont typeface="Averta" panose="00000500000000000000" pitchFamily="2" charset="0"/>
              <a:buChar char="‒"/>
              <a:defRPr sz="9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C96BC7A-D367-49F4-A13E-51AE932A9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2E7D7FA-72DF-44C7-AFCE-DEF506B1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3141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headers with 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729908-8336-40C2-B1A9-731E1CADD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5B0E8-4867-45E4-949A-F4C18B48AED8}" type="slidenum">
              <a:rPr lang="en-US" smtClean="0"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25087E-77ED-4714-BF08-C30B340108F0}"/>
              </a:ext>
            </a:extLst>
          </p:cNvPr>
          <p:cNvCxnSpPr>
            <a:cxnSpLocks/>
          </p:cNvCxnSpPr>
          <p:nvPr userDrawn="1"/>
        </p:nvCxnSpPr>
        <p:spPr>
          <a:xfrm>
            <a:off x="457200" y="287972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55138A5-37CE-4BDA-AB0D-E5BD0C536143}"/>
              </a:ext>
            </a:extLst>
          </p:cNvPr>
          <p:cNvCxnSpPr>
            <a:cxnSpLocks/>
          </p:cNvCxnSpPr>
          <p:nvPr userDrawn="1"/>
        </p:nvCxnSpPr>
        <p:spPr>
          <a:xfrm>
            <a:off x="2571750" y="287972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E07AAD-13A8-490D-B0F0-BB71ABEC42AF}"/>
              </a:ext>
            </a:extLst>
          </p:cNvPr>
          <p:cNvCxnSpPr>
            <a:cxnSpLocks/>
          </p:cNvCxnSpPr>
          <p:nvPr userDrawn="1"/>
        </p:nvCxnSpPr>
        <p:spPr>
          <a:xfrm flipV="1">
            <a:off x="4686300" y="2879723"/>
            <a:ext cx="1885950" cy="2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D25EA7F-5D72-4D0F-B580-6E604B1CCFE9}"/>
              </a:ext>
            </a:extLst>
          </p:cNvPr>
          <p:cNvCxnSpPr>
            <a:cxnSpLocks/>
          </p:cNvCxnSpPr>
          <p:nvPr userDrawn="1"/>
        </p:nvCxnSpPr>
        <p:spPr>
          <a:xfrm>
            <a:off x="6800850" y="287972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D33AFD8-F846-4BCF-874A-F55C0DDB6C1B}"/>
              </a:ext>
            </a:extLst>
          </p:cNvPr>
          <p:cNvCxnSpPr>
            <a:cxnSpLocks/>
          </p:cNvCxnSpPr>
          <p:nvPr userDrawn="1"/>
        </p:nvCxnSpPr>
        <p:spPr>
          <a:xfrm>
            <a:off x="441679" y="4441825"/>
            <a:ext cx="1901471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03091FF-0FCF-47CE-A8CD-BDCC763C65E0}"/>
              </a:ext>
            </a:extLst>
          </p:cNvPr>
          <p:cNvCxnSpPr>
            <a:cxnSpLocks/>
          </p:cNvCxnSpPr>
          <p:nvPr userDrawn="1"/>
        </p:nvCxnSpPr>
        <p:spPr>
          <a:xfrm>
            <a:off x="2567116" y="4441825"/>
            <a:ext cx="1890584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6791715-239F-4CF9-B631-40120A2E11B7}"/>
              </a:ext>
            </a:extLst>
          </p:cNvPr>
          <p:cNvCxnSpPr>
            <a:cxnSpLocks/>
          </p:cNvCxnSpPr>
          <p:nvPr userDrawn="1"/>
        </p:nvCxnSpPr>
        <p:spPr>
          <a:xfrm>
            <a:off x="6800850" y="444182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4A1770F-C36D-42EF-B29D-21979E53F1D0}"/>
              </a:ext>
            </a:extLst>
          </p:cNvPr>
          <p:cNvCxnSpPr>
            <a:cxnSpLocks/>
          </p:cNvCxnSpPr>
          <p:nvPr userDrawn="1"/>
        </p:nvCxnSpPr>
        <p:spPr>
          <a:xfrm>
            <a:off x="4686300" y="4441825"/>
            <a:ext cx="1885950" cy="0"/>
          </a:xfrm>
          <a:prstGeom prst="line">
            <a:avLst/>
          </a:prstGeom>
          <a:ln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0005A292-82D5-44A6-93C9-547261ED230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 rot="16200000">
            <a:off x="-387217" y="2035308"/>
            <a:ext cx="1519066" cy="16977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825">
                <a:solidFill>
                  <a:schemeClr val="accent3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ROW HEADER</a:t>
            </a:r>
          </a:p>
        </p:txBody>
      </p:sp>
      <p:sp>
        <p:nvSpPr>
          <p:cNvPr id="58" name="Content Placeholder 22">
            <a:extLst>
              <a:ext uri="{FF2B5EF4-FFF2-40B4-BE49-F238E27FC236}">
                <a16:creationId xmlns:a16="http://schemas.microsoft.com/office/drawing/2014/main" id="{7905D221-8CC7-4D27-9E94-55C54CE377D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 rot="16200000">
            <a:off x="-413322" y="3580474"/>
            <a:ext cx="1555751" cy="15425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825">
                <a:solidFill>
                  <a:schemeClr val="accent3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ROW HEADER</a:t>
            </a:r>
          </a:p>
        </p:txBody>
      </p:sp>
      <p:sp>
        <p:nvSpPr>
          <p:cNvPr id="59" name="Content Placeholder 22">
            <a:extLst>
              <a:ext uri="{FF2B5EF4-FFF2-40B4-BE49-F238E27FC236}">
                <a16:creationId xmlns:a16="http://schemas.microsoft.com/office/drawing/2014/main" id="{FD64FECC-D548-4F65-99E1-AF6131B8597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 rot="16200000">
            <a:off x="-404769" y="5127670"/>
            <a:ext cx="1554165" cy="169771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825">
                <a:solidFill>
                  <a:schemeClr val="accent3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ROW 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FAE1C03-1918-46FD-9239-5A5A97A7CC3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1849" y="1361212"/>
            <a:ext cx="1872896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DB53303-C995-47CC-A26B-2EA22B9E62B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77201" y="1361212"/>
            <a:ext cx="1890584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BB5E3C4A-7B8A-4FCB-B5B8-FD7FB1DEB9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86283" y="1360662"/>
            <a:ext cx="1884795" cy="23755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4EEF9D2-EF3A-4CE2-822C-94667E9AE9D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10935" y="1360662"/>
            <a:ext cx="1875865" cy="245887"/>
          </a:xfrm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COLUMN HEAD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36C53008-B4AC-4F16-97C2-D86F85233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7526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D496322-AF65-4C4D-8AF2-8779B2CE2A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71750" y="17526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EAA6F39B-948F-4DE0-85EB-435A146D095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686300" y="17526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89358C28-B040-45AC-B3E8-CBA8B9AE759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800850" y="17526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1701AEE-2EDF-4367-B48F-4312B9C9111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57200" y="30480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0D4ABD7F-C4F3-4098-8553-E000B6F39D8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571750" y="30480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D8B02096-B0D1-4F94-AADC-4C41F4A32CA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6300" y="30480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AAB037FD-1AA8-446E-B093-E1A3CDFE085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00850" y="3048001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6D1DF954-4B30-4F05-9834-7E1678F400E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57200" y="4610102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33F45087-F515-46B3-9207-8B51F154D53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571750" y="4610102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7D9C5B9C-05C6-4BE4-9CE0-B6C11FFC820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86300" y="4610102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3023EBDB-14A9-401D-8015-85063B311F2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800850" y="4610102"/>
            <a:ext cx="1811442" cy="10286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A133689-FFA6-4FFA-855F-8867AD920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0649"/>
            <a:ext cx="8229600" cy="425152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1789D5AD-ED29-4803-A3D3-1A7912C6C0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67098" y="41089"/>
            <a:ext cx="1919702" cy="219560"/>
          </a:xfrm>
        </p:spPr>
        <p:txBody>
          <a:bodyPr lIns="0" rIns="0">
            <a:noAutofit/>
          </a:bodyPr>
          <a:lstStyle>
            <a:lvl1pPr marL="0" indent="0" algn="r">
              <a:buNone/>
              <a:defRPr sz="900" cap="all" baseline="0">
                <a:latin typeface="Averta Bold" panose="00000800000000000000" pitchFamily="2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05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7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6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B914EA2-5772-4749-9046-80DEEC994CD7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96000"/>
            <a:ext cx="9144000" cy="762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761694-60DF-4652-A037-2C2C5C986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201"/>
            <a:ext cx="8229600" cy="4575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76A97-6155-4FA1-AB7E-2CE0674BE3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25564"/>
            <a:ext cx="8229600" cy="3621191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styles	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E6B45E-65F9-4D6B-95E1-C20A3BF27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6800" y="6629400"/>
            <a:ext cx="3429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6AB5B0E8-4867-45E4-949A-F4C18B48AE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F8388D-4EE3-46CA-B2C9-BA04D0D40A71}"/>
              </a:ext>
            </a:extLst>
          </p:cNvPr>
          <p:cNvSpPr txBox="1"/>
          <p:nvPr userDrawn="1"/>
        </p:nvSpPr>
        <p:spPr>
          <a:xfrm>
            <a:off x="3932359" y="6629399"/>
            <a:ext cx="1325441" cy="22860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600" dirty="0">
                <a:solidFill>
                  <a:schemeClr val="bg1"/>
                </a:solidFill>
              </a:rPr>
              <a:t>Proprietary &amp; confidentia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0EF2AD-D3D3-48B5-AEA8-BF822803ED40}"/>
              </a:ext>
            </a:extLst>
          </p:cNvPr>
          <p:cNvCxnSpPr>
            <a:cxnSpLocks/>
          </p:cNvCxnSpPr>
          <p:nvPr userDrawn="1"/>
        </p:nvCxnSpPr>
        <p:spPr>
          <a:xfrm>
            <a:off x="457200" y="685800"/>
            <a:ext cx="822960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0E550316-846D-46A3-9397-EEBEDB5F9EF6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6988" y="30958"/>
            <a:ext cx="1411941" cy="627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702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2" r:id="rId2"/>
    <p:sldLayoutId id="2147483691" r:id="rId3"/>
    <p:sldLayoutId id="2147483652" r:id="rId4"/>
    <p:sldLayoutId id="2147483698" r:id="rId5"/>
    <p:sldLayoutId id="2147483699" r:id="rId6"/>
    <p:sldLayoutId id="2147483695" r:id="rId7"/>
    <p:sldLayoutId id="2147483663" r:id="rId8"/>
    <p:sldLayoutId id="2147483661" r:id="rId9"/>
    <p:sldLayoutId id="2147483650" r:id="rId10"/>
    <p:sldLayoutId id="2147483664" r:id="rId11"/>
    <p:sldLayoutId id="2147483665" r:id="rId12"/>
    <p:sldLayoutId id="2147483666" r:id="rId13"/>
    <p:sldLayoutId id="2147483700" r:id="rId14"/>
    <p:sldLayoutId id="2147483701" r:id="rId15"/>
    <p:sldLayoutId id="2147483667" r:id="rId16"/>
    <p:sldLayoutId id="2147483668" r:id="rId17"/>
    <p:sldLayoutId id="2147483670" r:id="rId18"/>
    <p:sldLayoutId id="2147483671" r:id="rId19"/>
    <p:sldLayoutId id="2147483684" r:id="rId20"/>
    <p:sldLayoutId id="2147483672" r:id="rId21"/>
    <p:sldLayoutId id="2147483675" r:id="rId22"/>
    <p:sldLayoutId id="2147483677" r:id="rId23"/>
    <p:sldLayoutId id="2147483678" r:id="rId24"/>
    <p:sldLayoutId id="2147483685" r:id="rId25"/>
    <p:sldLayoutId id="2147483721" r:id="rId26"/>
    <p:sldLayoutId id="2147483687" r:id="rId27"/>
    <p:sldLayoutId id="2147483679" r:id="rId28"/>
    <p:sldLayoutId id="2147483703" r:id="rId29"/>
    <p:sldLayoutId id="2147483683" r:id="rId30"/>
    <p:sldLayoutId id="2147483680" r:id="rId31"/>
    <p:sldLayoutId id="2147483673" r:id="rId32"/>
    <p:sldLayoutId id="2147483674" r:id="rId33"/>
    <p:sldLayoutId id="2147483697" r:id="rId34"/>
    <p:sldLayoutId id="2147483681" r:id="rId35"/>
    <p:sldLayoutId id="2147483720" r:id="rId36"/>
    <p:sldLayoutId id="2147483682" r:id="rId37"/>
    <p:sldLayoutId id="2147483688" r:id="rId38"/>
    <p:sldLayoutId id="2147483696" r:id="rId3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0"/>
        </a:spcBef>
        <a:spcAft>
          <a:spcPts val="150"/>
        </a:spcAft>
        <a:buClr>
          <a:schemeClr val="accent3"/>
        </a:buClr>
        <a:buFont typeface="Averta" panose="00000500000000000000" pitchFamily="2" charset="0"/>
        <a:buChar char="‒"/>
        <a:defRPr sz="1200" kern="1200">
          <a:solidFill>
            <a:schemeClr val="tx1"/>
          </a:solidFill>
          <a:latin typeface="+mj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0"/>
        </a:spcBef>
        <a:spcAft>
          <a:spcPts val="150"/>
        </a:spcAft>
        <a:buClr>
          <a:schemeClr val="accent3"/>
        </a:buClr>
        <a:buFont typeface="Averta" panose="00000500000000000000" pitchFamily="2" charset="0"/>
        <a:buChar char="‒"/>
        <a:defRPr sz="1200" b="0" u="none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3"/>
        </a:buClr>
        <a:buFontTx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3"/>
        </a:buClr>
        <a:buFontTx/>
        <a:buNone/>
        <a:defRPr sz="1200" kern="1200" cap="none" baseline="0">
          <a:solidFill>
            <a:schemeClr val="tx1"/>
          </a:solidFill>
          <a:latin typeface="Averta Bold" panose="00000800000000000000" pitchFamily="2" charset="0"/>
          <a:ea typeface="+mn-ea"/>
          <a:cs typeface="+mn-cs"/>
        </a:defRPr>
      </a:lvl4pPr>
      <a:lvl5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3"/>
        </a:buClr>
        <a:buFont typeface="Averta" panose="00000500000000000000" pitchFamily="2" charset="0"/>
        <a:buNone/>
        <a:defRPr sz="1200" kern="1200" cap="all" baseline="0">
          <a:solidFill>
            <a:schemeClr val="tx1"/>
          </a:solidFill>
          <a:latin typeface="Averta Bold" panose="00000800000000000000" pitchFamily="2" charset="0"/>
          <a:ea typeface="+mn-ea"/>
          <a:cs typeface="+mn-cs"/>
        </a:defRPr>
      </a:lvl5pPr>
      <a:lvl6pPr marL="0" indent="0" algn="l" defTabSz="685800" rtl="0" eaLnBrk="1" latinLnBrk="0" hangingPunct="1">
        <a:lnSpc>
          <a:spcPct val="90000"/>
        </a:lnSpc>
        <a:spcBef>
          <a:spcPts val="375"/>
        </a:spcBef>
        <a:spcAft>
          <a:spcPts val="150"/>
        </a:spcAft>
        <a:buClr>
          <a:schemeClr val="accent3"/>
        </a:buClr>
        <a:buFont typeface="Averta" panose="00000500000000000000" pitchFamily="2" charset="0"/>
        <a:buNone/>
        <a:defRPr sz="2400" kern="1200" cap="none" baseline="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150"/>
        </a:spcAft>
        <a:buClr>
          <a:schemeClr val="accent3"/>
        </a:buClr>
        <a:buFontTx/>
        <a:buNone/>
        <a:defRPr sz="270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685800" rtl="0" eaLnBrk="1" latinLnBrk="0" hangingPunct="1">
        <a:lnSpc>
          <a:spcPct val="90000"/>
        </a:lnSpc>
        <a:spcBef>
          <a:spcPts val="450"/>
        </a:spcBef>
        <a:buClr>
          <a:schemeClr val="accent3"/>
        </a:buClr>
        <a:buFontTx/>
        <a:buNone/>
        <a:defRPr sz="300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orient="horz" pos="512" userDrawn="1">
          <p15:clr>
            <a:srgbClr val="F26B43"/>
          </p15:clr>
        </p15:guide>
        <p15:guide id="13" orient="horz" pos="3739" userDrawn="1">
          <p15:clr>
            <a:srgbClr val="F26B43"/>
          </p15:clr>
        </p15:guide>
        <p15:guide id="20" pos="288" userDrawn="1">
          <p15:clr>
            <a:srgbClr val="F26B43"/>
          </p15:clr>
        </p15:guide>
        <p15:guide id="25" pos="54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6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B914EA2-5772-4749-9046-80DEEC994C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96000"/>
            <a:ext cx="9144000" cy="762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8761694-60DF-4652-A037-2C2C5C986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201"/>
            <a:ext cx="8229600" cy="4575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76A97-6155-4FA1-AB7E-2CE0674BE3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25564"/>
            <a:ext cx="8229600" cy="3621191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styles	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E6B45E-65F9-4D6B-95E1-C20A3BF27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6800" y="6629400"/>
            <a:ext cx="3429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6AB5B0E8-4867-45E4-949A-F4C18B48AE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F8388D-4EE3-46CA-B2C9-BA04D0D40A71}"/>
              </a:ext>
            </a:extLst>
          </p:cNvPr>
          <p:cNvSpPr txBox="1"/>
          <p:nvPr userDrawn="1"/>
        </p:nvSpPr>
        <p:spPr>
          <a:xfrm>
            <a:off x="3932359" y="6629399"/>
            <a:ext cx="1325441" cy="22860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600" dirty="0">
                <a:solidFill>
                  <a:schemeClr val="bg1"/>
                </a:solidFill>
              </a:rPr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943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0"/>
        </a:spcBef>
        <a:spcAft>
          <a:spcPts val="150"/>
        </a:spcAft>
        <a:buClr>
          <a:schemeClr val="accent3"/>
        </a:buClr>
        <a:buFont typeface="Averta" panose="00000500000000000000" pitchFamily="2" charset="0"/>
        <a:buChar char="‒"/>
        <a:defRPr sz="1200" kern="1200">
          <a:solidFill>
            <a:schemeClr val="tx1"/>
          </a:solidFill>
          <a:latin typeface="+mj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0"/>
        </a:spcBef>
        <a:spcAft>
          <a:spcPts val="150"/>
        </a:spcAft>
        <a:buClr>
          <a:schemeClr val="accent3"/>
        </a:buClr>
        <a:buFont typeface="Averta" panose="00000500000000000000" pitchFamily="2" charset="0"/>
        <a:buChar char="‒"/>
        <a:defRPr sz="1200" b="0" u="none" kern="1200" cap="none" baseline="0">
          <a:solidFill>
            <a:schemeClr val="tx1"/>
          </a:solidFill>
          <a:latin typeface="+mj-lt"/>
          <a:ea typeface="+mn-ea"/>
          <a:cs typeface="+mn-cs"/>
        </a:defRPr>
      </a:lvl2pPr>
      <a:lvl3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3"/>
        </a:buClr>
        <a:buFontTx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3"/>
        </a:buClr>
        <a:buFontTx/>
        <a:buNone/>
        <a:defRPr sz="1200" kern="1200" cap="none" baseline="0">
          <a:solidFill>
            <a:schemeClr val="tx1"/>
          </a:solidFill>
          <a:latin typeface="Averta Bold" panose="00000800000000000000" pitchFamily="2" charset="0"/>
          <a:ea typeface="+mn-ea"/>
          <a:cs typeface="+mn-cs"/>
        </a:defRPr>
      </a:lvl4pPr>
      <a:lvl5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450"/>
        </a:spcAft>
        <a:buClr>
          <a:schemeClr val="accent3"/>
        </a:buClr>
        <a:buFont typeface="Averta" panose="00000500000000000000" pitchFamily="2" charset="0"/>
        <a:buNone/>
        <a:defRPr sz="1200" kern="1200" cap="all" baseline="0">
          <a:solidFill>
            <a:schemeClr val="tx1"/>
          </a:solidFill>
          <a:latin typeface="Averta Bold" panose="00000800000000000000" pitchFamily="2" charset="0"/>
          <a:ea typeface="+mn-ea"/>
          <a:cs typeface="+mn-cs"/>
        </a:defRPr>
      </a:lvl5pPr>
      <a:lvl6pPr marL="0" indent="0" algn="l" defTabSz="685800" rtl="0" eaLnBrk="1" latinLnBrk="0" hangingPunct="1">
        <a:lnSpc>
          <a:spcPct val="90000"/>
        </a:lnSpc>
        <a:spcBef>
          <a:spcPts val="375"/>
        </a:spcBef>
        <a:spcAft>
          <a:spcPts val="150"/>
        </a:spcAft>
        <a:buClr>
          <a:schemeClr val="accent3"/>
        </a:buClr>
        <a:buFont typeface="Averta" panose="00000500000000000000" pitchFamily="2" charset="0"/>
        <a:buNone/>
        <a:defRPr sz="2400" kern="1200" cap="none" baseline="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685800" rtl="0" eaLnBrk="1" latinLnBrk="0" hangingPunct="1">
        <a:lnSpc>
          <a:spcPct val="90000"/>
        </a:lnSpc>
        <a:spcBef>
          <a:spcPts val="450"/>
        </a:spcBef>
        <a:spcAft>
          <a:spcPts val="150"/>
        </a:spcAft>
        <a:buClr>
          <a:schemeClr val="accent3"/>
        </a:buClr>
        <a:buFontTx/>
        <a:buNone/>
        <a:defRPr sz="270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685800" rtl="0" eaLnBrk="1" latinLnBrk="0" hangingPunct="1">
        <a:lnSpc>
          <a:spcPct val="90000"/>
        </a:lnSpc>
        <a:spcBef>
          <a:spcPts val="450"/>
        </a:spcBef>
        <a:buClr>
          <a:schemeClr val="accent3"/>
        </a:buClr>
        <a:buFontTx/>
        <a:buNone/>
        <a:defRPr sz="300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orient="horz" pos="432" userDrawn="1">
          <p15:clr>
            <a:srgbClr val="F26B43"/>
          </p15:clr>
        </p15:guide>
        <p15:guide id="10" orient="horz" pos="835" userDrawn="1">
          <p15:clr>
            <a:srgbClr val="F26B43"/>
          </p15:clr>
        </p15:guide>
        <p15:guide id="11" orient="horz" pos="1814" userDrawn="1">
          <p15:clr>
            <a:srgbClr val="F26B43"/>
          </p15:clr>
        </p15:guide>
        <p15:guide id="12" orient="horz" pos="2794" userDrawn="1">
          <p15:clr>
            <a:srgbClr val="F26B43"/>
          </p15:clr>
        </p15:guide>
        <p15:guide id="13" orient="horz" pos="3773" userDrawn="1">
          <p15:clr>
            <a:srgbClr val="F26B43"/>
          </p15:clr>
        </p15:guide>
        <p15:guide id="14" orient="horz" pos="3840" userDrawn="1">
          <p15:clr>
            <a:srgbClr val="F26B43"/>
          </p15:clr>
        </p15:guide>
        <p15:guide id="15" orient="horz" pos="4008" userDrawn="1">
          <p15:clr>
            <a:srgbClr val="F26B43"/>
          </p15:clr>
        </p15:guide>
        <p15:guide id="16" orient="horz" pos="4152" userDrawn="1">
          <p15:clr>
            <a:srgbClr val="F26B43"/>
          </p15:clr>
        </p15:guide>
        <p15:guide id="17" pos="1476" userDrawn="1">
          <p15:clr>
            <a:srgbClr val="F26B43"/>
          </p15:clr>
        </p15:guide>
        <p15:guide id="18" pos="1620" userDrawn="1">
          <p15:clr>
            <a:srgbClr val="F26B43"/>
          </p15:clr>
        </p15:guide>
        <p15:guide id="20" pos="288" userDrawn="1">
          <p15:clr>
            <a:srgbClr val="F26B43"/>
          </p15:clr>
        </p15:guide>
        <p15:guide id="21" pos="2808" userDrawn="1">
          <p15:clr>
            <a:srgbClr val="F26B43"/>
          </p15:clr>
        </p15:guide>
        <p15:guide id="22" pos="2952" userDrawn="1">
          <p15:clr>
            <a:srgbClr val="F26B43"/>
          </p15:clr>
        </p15:guide>
        <p15:guide id="23" pos="4140" userDrawn="1">
          <p15:clr>
            <a:srgbClr val="F26B43"/>
          </p15:clr>
        </p15:guide>
        <p15:guide id="24" pos="4284" userDrawn="1">
          <p15:clr>
            <a:srgbClr val="F26B43"/>
          </p15:clr>
        </p15:guide>
        <p15:guide id="25" pos="547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680" y="2888943"/>
            <a:ext cx="4099718" cy="1330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PRESENTATION TITLE</a:t>
            </a:r>
            <a:endParaRPr lang="en-CA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78" y="608687"/>
            <a:ext cx="2286000" cy="735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86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</p:sldLayoutIdLst>
  <p:hf hdr="0" ftr="0" dt="0"/>
  <p:txStyles>
    <p:titleStyle>
      <a:lvl1pPr algn="l" defTabSz="914363" rtl="0" eaLnBrk="1" latinLnBrk="0" hangingPunct="1">
        <a:lnSpc>
          <a:spcPts val="2625"/>
        </a:lnSpc>
        <a:spcBef>
          <a:spcPct val="0"/>
        </a:spcBef>
        <a:buNone/>
        <a:defRPr sz="25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887" indent="-342887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3188" kern="1200">
          <a:solidFill>
            <a:schemeClr val="tx1"/>
          </a:solidFill>
          <a:latin typeface="+mn-lt"/>
          <a:ea typeface="+mn-ea"/>
          <a:cs typeface="+mn-cs"/>
        </a:defRPr>
      </a:lvl1pPr>
      <a:lvl2pPr marL="742920" indent="-285739" algn="l" defTabSz="914363" rtl="0" eaLnBrk="1" latinLnBrk="0" hangingPunct="1">
        <a:spcBef>
          <a:spcPct val="20000"/>
        </a:spcBef>
        <a:buFont typeface="Arial" panose="020B0604020202020204" pitchFamily="34" charset="0"/>
        <a:buChar char="–"/>
        <a:defRPr sz="281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00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2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9144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883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p:hf hdr="0" ftr="0" dt="0"/>
  <p:txStyles>
    <p:titleStyle>
      <a:lvl1pPr algn="ctr" defTabSz="571478" rtl="0" eaLnBrk="1" latinLnBrk="0" hangingPunct="1">
        <a:spcBef>
          <a:spcPct val="0"/>
        </a:spcBef>
        <a:buNone/>
        <a:defRPr sz="2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04" indent="-214304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4325" indent="-178586" algn="l" defTabSz="5714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714347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00085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25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3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»"/>
        <a:defRPr sz="1250" kern="1200">
          <a:solidFill>
            <a:schemeClr val="tx1"/>
          </a:solidFill>
          <a:latin typeface="+mn-lt"/>
          <a:ea typeface="+mn-ea"/>
          <a:cs typeface="+mn-cs"/>
        </a:defRPr>
      </a:lvl5pPr>
      <a:lvl6pPr marL="1571562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40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679" y="1714499"/>
            <a:ext cx="8380677" cy="43801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97278" y="6229067"/>
            <a:ext cx="304373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25" b="1">
                <a:solidFill>
                  <a:schemeClr val="bg1"/>
                </a:solidFill>
              </a:defRPr>
            </a:lvl1pPr>
          </a:lstStyle>
          <a:p>
            <a:fld id="{677431CD-109D-4799-81C2-761F8C28FE26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0" name="TextBox 19"/>
          <p:cNvSpPr txBox="1"/>
          <p:nvPr/>
        </p:nvSpPr>
        <p:spPr>
          <a:xfrm>
            <a:off x="7776338" y="6478773"/>
            <a:ext cx="675075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CA" sz="750" b="1">
                <a:solidFill>
                  <a:schemeClr val="bg1"/>
                </a:solidFill>
              </a:rPr>
              <a:t>ispe.org</a:t>
            </a:r>
            <a:endParaRPr lang="en-CA" sz="750" b="1">
              <a:solidFill>
                <a:schemeClr val="bg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8570596" y="6482080"/>
            <a:ext cx="0" cy="10668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35" y="6306128"/>
            <a:ext cx="1143055" cy="36766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771802" y="6482221"/>
            <a:ext cx="900100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750" b="1">
                <a:solidFill>
                  <a:schemeClr val="bg1"/>
                </a:solidFill>
              </a:rPr>
              <a:t>Connecting</a:t>
            </a:r>
            <a:endParaRPr lang="en-CA" sz="750" b="1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96473" y="6482221"/>
            <a:ext cx="1126435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750" b="1">
                <a:solidFill>
                  <a:schemeClr val="bg1"/>
                </a:solidFill>
              </a:rPr>
              <a:t>Pharmaceutical</a:t>
            </a:r>
            <a:endParaRPr lang="en-CA" sz="750" b="1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259740" y="6482221"/>
            <a:ext cx="900100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750" b="1">
                <a:solidFill>
                  <a:schemeClr val="bg1"/>
                </a:solidFill>
              </a:rPr>
              <a:t>Knowledge</a:t>
            </a:r>
            <a:endParaRPr lang="en-CA" sz="75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</p:sldLayoutIdLst>
  <p:hf hdr="0" ftr="0" dt="0"/>
  <p:txStyles>
    <p:titleStyle>
      <a:lvl1pPr algn="ctr" defTabSz="571478" rtl="0" eaLnBrk="1" latinLnBrk="0" hangingPunct="1">
        <a:spcBef>
          <a:spcPct val="0"/>
        </a:spcBef>
        <a:buNone/>
        <a:defRPr sz="2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Font typeface="Arial" panose="020B0604020202020204" pitchFamily="34" charset="0"/>
        <a:buNone/>
        <a:defRPr sz="1375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1985" indent="0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Font typeface="Arial" panose="020B0604020202020204" pitchFamily="34" charset="0"/>
        <a:buNone/>
        <a:defRPr sz="1250" kern="1200">
          <a:solidFill>
            <a:schemeClr val="tx2"/>
          </a:solidFill>
          <a:latin typeface="+mn-lt"/>
          <a:ea typeface="+mn-ea"/>
          <a:cs typeface="+mn-cs"/>
        </a:defRPr>
      </a:lvl2pPr>
      <a:lvl3pPr marL="213312" indent="-213312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Clr>
          <a:schemeClr val="accent2"/>
        </a:buClr>
        <a:buFont typeface="Arial" panose="020B0604020202020204" pitchFamily="34" charset="0"/>
        <a:buChar char="&gt;"/>
        <a:defRPr sz="1250" kern="1200">
          <a:solidFill>
            <a:schemeClr val="tx2"/>
          </a:solidFill>
          <a:latin typeface="+mn-lt"/>
          <a:ea typeface="+mn-ea"/>
          <a:cs typeface="+mn-cs"/>
        </a:defRPr>
      </a:lvl3pPr>
      <a:lvl4pPr marL="427616" indent="-214304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Font typeface="Arial" panose="020B0604020202020204" pitchFamily="34" charset="0"/>
        <a:buChar char="–"/>
        <a:tabLst/>
        <a:defRPr sz="1250" kern="1200">
          <a:solidFill>
            <a:schemeClr val="tx2"/>
          </a:solidFill>
          <a:latin typeface="+mn-lt"/>
          <a:ea typeface="+mn-ea"/>
          <a:cs typeface="+mn-cs"/>
        </a:defRPr>
      </a:lvl4pPr>
      <a:lvl5pPr marL="1285823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»"/>
        <a:defRPr sz="1250" kern="1200">
          <a:solidFill>
            <a:schemeClr val="tx2"/>
          </a:solidFill>
          <a:latin typeface="+mn-lt"/>
          <a:ea typeface="+mn-ea"/>
          <a:cs typeface="+mn-cs"/>
        </a:defRPr>
      </a:lvl5pPr>
      <a:lvl6pPr marL="1571562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40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24.emf"/><Relationship Id="rId5" Type="http://schemas.microsoft.com/office/2007/relationships/hdphoto" Target="../media/hdphoto1.wdp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24.emf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29.jpe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6.xml"/><Relationship Id="rId4" Type="http://schemas.openxmlformats.org/officeDocument/2006/relationships/tags" Target="../tags/tag3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678" y="2104572"/>
            <a:ext cx="4099718" cy="2018008"/>
          </a:xfrm>
        </p:spPr>
        <p:txBody>
          <a:bodyPr/>
          <a:lstStyle/>
          <a:p>
            <a:r>
              <a:rPr lang="en-US" dirty="0"/>
              <a:t>DRIVING CONTINUOUS PROCESS IMPROVEMENT (CPI) OF FLUID TRANSFER Processes THROUGH EMERGING TECHNOLOGI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hn W. Batts IV – </a:t>
            </a:r>
            <a:r>
              <a:rPr lang="en-US" i="1" dirty="0"/>
              <a:t>Senior Technical Trainer</a:t>
            </a:r>
          </a:p>
          <a:p>
            <a:r>
              <a:rPr lang="en-US" dirty="0"/>
              <a:t>Avantor Fluid Handling</a:t>
            </a:r>
          </a:p>
          <a:p>
            <a:endParaRPr lang="en-US" dirty="0"/>
          </a:p>
          <a:p>
            <a:r>
              <a:rPr lang="en-US" dirty="0"/>
              <a:t>Life Sciences Technology Conference</a:t>
            </a:r>
          </a:p>
          <a:p>
            <a:r>
              <a:rPr lang="en-US" dirty="0"/>
              <a:t>February 15, 2022</a:t>
            </a:r>
          </a:p>
        </p:txBody>
      </p:sp>
    </p:spTree>
    <p:extLst>
      <p:ext uri="{BB962C8B-B14F-4D97-AF65-F5344CB8AC3E}">
        <p14:creationId xmlns:p14="http://schemas.microsoft.com/office/powerpoint/2010/main" val="27960952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3200" dirty="0"/>
              <a:t>Peristaltic pump technology offers </a:t>
            </a:r>
            <a:r>
              <a:rPr lang="en-US" sz="3200" dirty="0">
                <a:solidFill>
                  <a:srgbClr val="00B0F0"/>
                </a:solidFill>
              </a:rPr>
              <a:t>critical advantages </a:t>
            </a:r>
            <a:r>
              <a:rPr lang="en-US" sz="3200" dirty="0"/>
              <a:t>for bioprocessing fluidic transfer pathway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5F1126-7D23-9149-8A30-F42CCE1251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485"/>
          <a:stretch/>
        </p:blipFill>
        <p:spPr>
          <a:xfrm>
            <a:off x="4706372" y="1714501"/>
            <a:ext cx="4041321" cy="369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0656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525">
              <a:lnSpc>
                <a:spcPct val="100000"/>
              </a:lnSpc>
            </a:pPr>
            <a:r>
              <a:rPr lang="en-US" sz="3200" spc="8" dirty="0"/>
              <a:t>Unique pump head design can </a:t>
            </a:r>
            <a:r>
              <a:rPr lang="en-US" sz="3200" spc="8" dirty="0">
                <a:solidFill>
                  <a:srgbClr val="00B0F0"/>
                </a:solidFill>
              </a:rPr>
              <a:t>lower shear forces </a:t>
            </a:r>
            <a:r>
              <a:rPr lang="en-US" sz="3200" spc="8" dirty="0"/>
              <a:t>and </a:t>
            </a:r>
            <a:r>
              <a:rPr lang="en-US" sz="3200" spc="8" dirty="0">
                <a:solidFill>
                  <a:srgbClr val="00B0F0"/>
                </a:solidFill>
              </a:rPr>
              <a:t>improve overall yield</a:t>
            </a:r>
            <a:endParaRPr lang="en-US" sz="3200" spc="-4" dirty="0">
              <a:solidFill>
                <a:srgbClr val="00B0F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979BFA-3CD2-4941-B088-DD455C38722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49" b="11304"/>
          <a:stretch/>
        </p:blipFill>
        <p:spPr>
          <a:xfrm>
            <a:off x="5235204" y="1584778"/>
            <a:ext cx="3379675" cy="25464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975DA0-03DC-4941-BF25-B339D2E031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686" y="4127624"/>
            <a:ext cx="2202713" cy="178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33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979BFA-3CD2-4941-B088-DD455C38722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49" b="11304"/>
          <a:stretch/>
        </p:blipFill>
        <p:spPr>
          <a:xfrm>
            <a:off x="5235204" y="1584778"/>
            <a:ext cx="3379675" cy="25464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975DA0-03DC-4941-BF25-B339D2E031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686" y="4127624"/>
            <a:ext cx="2202713" cy="1782195"/>
          </a:xfrm>
          <a:prstGeom prst="rect">
            <a:avLst/>
          </a:prstGeom>
        </p:spPr>
      </p:pic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C39A51BF-C98D-C54D-9AB9-0733F55CF2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78" y="1714499"/>
            <a:ext cx="4106948" cy="2102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2126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C39A51BF-C98D-C54D-9AB9-0733F55CF2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78" y="1714499"/>
            <a:ext cx="4106948" cy="21027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99F29F0-5C2C-F34F-A0AD-78CC7A2F8CFA}"/>
              </a:ext>
            </a:extLst>
          </p:cNvPr>
          <p:cNvSpPr txBox="1"/>
          <p:nvPr/>
        </p:nvSpPr>
        <p:spPr>
          <a:xfrm>
            <a:off x="5276850" y="1681162"/>
            <a:ext cx="3409950" cy="40575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571478">
              <a:lnSpc>
                <a:spcPts val="2560"/>
              </a:lnSpc>
              <a:buClr>
                <a:schemeClr val="accent3"/>
              </a:buClr>
              <a:buFont typeface="Arial" panose="020B0604020202020204" pitchFamily="34" charset="0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A Look @ the Value</a:t>
            </a:r>
          </a:p>
          <a:p>
            <a:pPr defTabSz="571478"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</a:pPr>
            <a:endParaRPr lang="en-US" sz="1600" b="1" dirty="0">
              <a:solidFill>
                <a:schemeClr val="accent2"/>
              </a:solidFill>
              <a:latin typeface="+mj-lt"/>
            </a:endParaRP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$50 Million Annual Process Revenue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Yield Improvement of 0.2%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$100,000 Additional Revenue</a:t>
            </a:r>
          </a:p>
        </p:txBody>
      </p:sp>
    </p:spTree>
    <p:extLst>
      <p:ext uri="{BB962C8B-B14F-4D97-AF65-F5344CB8AC3E}">
        <p14:creationId xmlns:p14="http://schemas.microsoft.com/office/powerpoint/2010/main" val="4885332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525">
              <a:lnSpc>
                <a:spcPct val="100000"/>
              </a:lnSpc>
            </a:pPr>
            <a:r>
              <a:rPr lang="en-US" sz="3200" spc="8" dirty="0"/>
              <a:t>Intelligent options available through the </a:t>
            </a:r>
            <a:r>
              <a:rPr lang="en-US" sz="3200" spc="8" dirty="0">
                <a:solidFill>
                  <a:srgbClr val="00B0F0"/>
                </a:solidFill>
              </a:rPr>
              <a:t>graphic user interface </a:t>
            </a:r>
            <a:r>
              <a:rPr lang="en-US" sz="3200" spc="8" dirty="0"/>
              <a:t>can also help achieve CPI!</a:t>
            </a:r>
            <a:endParaRPr lang="en-US" sz="3200" spc="-4" dirty="0">
              <a:solidFill>
                <a:srgbClr val="4DB2B8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5F1126-7D23-9149-8A30-F42CCE1251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485"/>
          <a:stretch/>
        </p:blipFill>
        <p:spPr>
          <a:xfrm>
            <a:off x="4706372" y="1714501"/>
            <a:ext cx="4041321" cy="369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8076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5F1126-7D23-9149-8A30-F42CCE1251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485"/>
          <a:stretch/>
        </p:blipFill>
        <p:spPr>
          <a:xfrm>
            <a:off x="4706372" y="1714501"/>
            <a:ext cx="4041321" cy="36984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48BEE26-E865-CB43-B26F-B754B73B54E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78" y="1714499"/>
            <a:ext cx="1704975" cy="28122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C7849ED-E322-934C-B086-17E5FF45469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5132" y="2278801"/>
            <a:ext cx="1704975" cy="285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228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8BEE26-E865-CB43-B26F-B754B73B54E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78" y="1714499"/>
            <a:ext cx="1704975" cy="28122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C7849ED-E322-934C-B086-17E5FF4546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5132" y="2278801"/>
            <a:ext cx="1704975" cy="28519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6057F45-5ABA-9648-AC58-7417D8982048}"/>
              </a:ext>
            </a:extLst>
          </p:cNvPr>
          <p:cNvSpPr txBox="1"/>
          <p:nvPr/>
        </p:nvSpPr>
        <p:spPr>
          <a:xfrm>
            <a:off x="5276850" y="1681163"/>
            <a:ext cx="3409950" cy="41344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571478">
              <a:lnSpc>
                <a:spcPts val="256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A Look @ the Value</a:t>
            </a:r>
          </a:p>
          <a:p>
            <a:pPr defTabSz="571478"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</a:pPr>
            <a:endParaRPr lang="en-US" sz="1600" b="1" dirty="0">
              <a:solidFill>
                <a:schemeClr val="accent2"/>
              </a:solidFill>
              <a:latin typeface="+mj-lt"/>
            </a:endParaRP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Makes daily set-up processes easier and less time-intensive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Helps eliminate errors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More instrument uptime, improved productivity</a:t>
            </a:r>
          </a:p>
        </p:txBody>
      </p:sp>
    </p:spTree>
    <p:extLst>
      <p:ext uri="{BB962C8B-B14F-4D97-AF65-F5344CB8AC3E}">
        <p14:creationId xmlns:p14="http://schemas.microsoft.com/office/powerpoint/2010/main" val="21221428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9678" y="1714499"/>
            <a:ext cx="3649397" cy="4380178"/>
          </a:xfrm>
        </p:spPr>
        <p:txBody>
          <a:bodyPr/>
          <a:lstStyle/>
          <a:p>
            <a:pPr marL="9525">
              <a:lnSpc>
                <a:spcPct val="100000"/>
              </a:lnSpc>
            </a:pPr>
            <a:r>
              <a:rPr lang="en-US" sz="3200" spc="8" dirty="0">
                <a:solidFill>
                  <a:srgbClr val="00B0F0"/>
                </a:solidFill>
              </a:rPr>
              <a:t>Monitoring</a:t>
            </a:r>
            <a:r>
              <a:rPr lang="en-US" sz="3200" spc="8" dirty="0"/>
              <a:t> – </a:t>
            </a:r>
            <a:br>
              <a:rPr lang="en-US" sz="3200" spc="8" dirty="0"/>
            </a:br>
            <a:r>
              <a:rPr lang="en-US" sz="3200" spc="8" dirty="0"/>
              <a:t>and </a:t>
            </a:r>
            <a:r>
              <a:rPr lang="en-US" sz="3200" spc="8" dirty="0">
                <a:solidFill>
                  <a:srgbClr val="00B0F0"/>
                </a:solidFill>
              </a:rPr>
              <a:t>controlling</a:t>
            </a:r>
            <a:r>
              <a:rPr lang="en-US" sz="3200" spc="8" dirty="0"/>
              <a:t> – your pump </a:t>
            </a:r>
            <a:br>
              <a:rPr lang="en-US" sz="3200" spc="8" dirty="0"/>
            </a:br>
            <a:r>
              <a:rPr lang="en-US" sz="3200" spc="8" dirty="0"/>
              <a:t>hardware can help you achieve CPI!</a:t>
            </a:r>
            <a:endParaRPr lang="en-US" sz="3200" spc="-4" dirty="0">
              <a:solidFill>
                <a:srgbClr val="4DB2B8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C20527-CB39-1C41-B11A-005CF22D36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6377" y="1714499"/>
            <a:ext cx="4460423" cy="29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8564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525">
              <a:lnSpc>
                <a:spcPct val="100000"/>
              </a:lnSpc>
            </a:pPr>
            <a:r>
              <a:rPr lang="en-US" sz="3200" spc="8" dirty="0"/>
              <a:t>Using a non-invasive ultrasonic </a:t>
            </a:r>
            <a:r>
              <a:rPr lang="en-US" sz="3200" spc="8" dirty="0">
                <a:solidFill>
                  <a:srgbClr val="00B0F0"/>
                </a:solidFill>
              </a:rPr>
              <a:t>flow sensor </a:t>
            </a:r>
            <a:r>
              <a:rPr lang="en-US" sz="3200" spc="8" dirty="0"/>
              <a:t>combined with a real-time </a:t>
            </a:r>
            <a:r>
              <a:rPr lang="en-US" sz="3200" spc="8" dirty="0">
                <a:solidFill>
                  <a:srgbClr val="00B0F0"/>
                </a:solidFill>
              </a:rPr>
              <a:t>flow controller</a:t>
            </a:r>
            <a:r>
              <a:rPr lang="en-US" sz="3200" spc="8" dirty="0"/>
              <a:t> can bring real value!</a:t>
            </a:r>
            <a:endParaRPr lang="en-US" sz="3200" spc="-4" dirty="0">
              <a:solidFill>
                <a:srgbClr val="4DB2B8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CF7EB9C4-3019-0E4C-95AC-82C3728A0B5F}"/>
              </a:ext>
            </a:extLst>
          </p:cNvPr>
          <p:cNvSpPr/>
          <p:nvPr/>
        </p:nvSpPr>
        <p:spPr>
          <a:xfrm>
            <a:off x="4664606" y="1714499"/>
            <a:ext cx="4220786" cy="2752724"/>
          </a:xfrm>
          <a:prstGeom prst="roundRect">
            <a:avLst>
              <a:gd name="adj" fmla="val 23867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3126340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0BCF4E2-C0BC-EA4C-8F3B-48E8C874CD2B}"/>
              </a:ext>
            </a:extLst>
          </p:cNvPr>
          <p:cNvSpPr/>
          <p:nvPr/>
        </p:nvSpPr>
        <p:spPr>
          <a:xfrm>
            <a:off x="379678" y="1714499"/>
            <a:ext cx="4220786" cy="2752724"/>
          </a:xfrm>
          <a:prstGeom prst="roundRect">
            <a:avLst>
              <a:gd name="adj" fmla="val 23867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494A87-B992-6046-BA1F-DF04105AFA8D}"/>
              </a:ext>
            </a:extLst>
          </p:cNvPr>
          <p:cNvSpPr txBox="1"/>
          <p:nvPr/>
        </p:nvSpPr>
        <p:spPr>
          <a:xfrm>
            <a:off x="5276850" y="1681163"/>
            <a:ext cx="3649436" cy="455509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571478">
              <a:lnSpc>
                <a:spcPts val="256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A Look @ the Value</a:t>
            </a:r>
          </a:p>
          <a:p>
            <a:pPr defTabSz="571478"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</a:pPr>
            <a:endParaRPr lang="en-US" sz="1400" b="1" dirty="0">
              <a:solidFill>
                <a:schemeClr val="accent2"/>
              </a:solidFill>
              <a:latin typeface="+mj-lt"/>
            </a:endParaRP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No need for tubing break-in or calibration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Accurate flow rates, measured in real-time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Can result in  hours of increased uptime per year, per device</a:t>
            </a:r>
          </a:p>
        </p:txBody>
      </p:sp>
    </p:spTree>
    <p:extLst>
      <p:ext uri="{BB962C8B-B14F-4D97-AF65-F5344CB8AC3E}">
        <p14:creationId xmlns:p14="http://schemas.microsoft.com/office/powerpoint/2010/main" val="2531896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79679" y="1878036"/>
            <a:ext cx="4468091" cy="1471083"/>
          </a:xfrm>
        </p:spPr>
        <p:txBody>
          <a:bodyPr/>
          <a:lstStyle/>
          <a:p>
            <a:r>
              <a:rPr lang="en-US" dirty="0"/>
              <a:t>Educational sessions III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24145581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276CF6F5-75EE-8D4D-8D3E-9D7D862ED0C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76"/>
          <a:stretch/>
        </p:blipFill>
        <p:spPr>
          <a:xfrm>
            <a:off x="420666" y="1438275"/>
            <a:ext cx="8322531" cy="39909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315390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194C0C70-ADF6-174D-A0D7-F573EA68137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76"/>
          <a:stretch/>
        </p:blipFill>
        <p:spPr>
          <a:xfrm>
            <a:off x="3466420" y="1714499"/>
            <a:ext cx="5418972" cy="25986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135FB7E8-AFBA-4ED6-9863-05BF9FA13C96" descr="135FB7E8-AFBA-4ED6-9863-05BF9FA13C96">
            <a:hlinkClick r:id="" action="ppaction://media"/>
            <a:extLst>
              <a:ext uri="{FF2B5EF4-FFF2-40B4-BE49-F238E27FC236}">
                <a16:creationId xmlns:a16="http://schemas.microsoft.com/office/drawing/2014/main" id="{7964010F-3CBA-8F4E-B062-89CD817EE57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17624" r="17669"/>
          <a:stretch/>
        </p:blipFill>
        <p:spPr>
          <a:xfrm>
            <a:off x="379678" y="1714499"/>
            <a:ext cx="2095500" cy="180975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74F7A4B-8A3F-9140-A29B-98AF1E1F494D}"/>
              </a:ext>
            </a:extLst>
          </p:cNvPr>
          <p:cNvSpPr txBox="1"/>
          <p:nvPr/>
        </p:nvSpPr>
        <p:spPr>
          <a:xfrm>
            <a:off x="379678" y="3524249"/>
            <a:ext cx="2095500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en-US" dirty="0">
                <a:latin typeface="+mj-lt"/>
              </a:rPr>
              <a:t>Open-Head Senso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4D2380E-E7C1-6B4B-BE3A-1181C9BDEDE8}"/>
              </a:ext>
            </a:extLst>
          </p:cNvPr>
          <p:cNvGrpSpPr/>
          <p:nvPr/>
        </p:nvGrpSpPr>
        <p:grpSpPr>
          <a:xfrm>
            <a:off x="1569642" y="4084434"/>
            <a:ext cx="3000375" cy="1811259"/>
            <a:chOff x="4787900" y="3257883"/>
            <a:chExt cx="4000500" cy="2415011"/>
          </a:xfrm>
        </p:grpSpPr>
        <p:pic>
          <p:nvPicPr>
            <p:cNvPr id="11" name="Picture 10" descr="A picture containing indoor&#10;&#10;Description automatically generated">
              <a:extLst>
                <a:ext uri="{FF2B5EF4-FFF2-40B4-BE49-F238E27FC236}">
                  <a16:creationId xmlns:a16="http://schemas.microsoft.com/office/drawing/2014/main" id="{B22566D3-42E4-544A-B646-41349C25FA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485" b="26456"/>
            <a:stretch/>
          </p:blipFill>
          <p:spPr>
            <a:xfrm>
              <a:off x="4787900" y="3257883"/>
              <a:ext cx="4000500" cy="192257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190E3E7-B4C2-7646-BC75-A54D0178C808}"/>
                </a:ext>
              </a:extLst>
            </p:cNvPr>
            <p:cNvSpPr txBox="1"/>
            <p:nvPr/>
          </p:nvSpPr>
          <p:spPr>
            <a:xfrm>
              <a:off x="5032877" y="5180453"/>
              <a:ext cx="3510547" cy="49244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buClr>
                  <a:schemeClr val="accent3"/>
                </a:buClr>
              </a:pPr>
              <a:r>
                <a:rPr lang="en-US" dirty="0">
                  <a:latin typeface="+mj-lt"/>
                </a:rPr>
                <a:t>Leak-Detection Sens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248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92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3928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text, device&#10;&#10;Description automatically generated">
            <a:extLst>
              <a:ext uri="{FF2B5EF4-FFF2-40B4-BE49-F238E27FC236}">
                <a16:creationId xmlns:a16="http://schemas.microsoft.com/office/drawing/2014/main" id="{195589FC-8611-6F4D-BC54-6CBEDE8333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0" t="35437" r="11724" b="7891"/>
          <a:stretch/>
        </p:blipFill>
        <p:spPr>
          <a:xfrm>
            <a:off x="379679" y="1713914"/>
            <a:ext cx="3265714" cy="259919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194C0C70-ADF6-174D-A0D7-F573EA6813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76"/>
          <a:stretch/>
        </p:blipFill>
        <p:spPr>
          <a:xfrm>
            <a:off x="3466420" y="1714499"/>
            <a:ext cx="5418972" cy="25986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8C82709-9328-1B4F-B5D2-F355E2F68307}"/>
              </a:ext>
            </a:extLst>
          </p:cNvPr>
          <p:cNvSpPr txBox="1"/>
          <p:nvPr/>
        </p:nvSpPr>
        <p:spPr>
          <a:xfrm>
            <a:off x="964786" y="4375643"/>
            <a:ext cx="2095500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buClr>
                <a:schemeClr val="accent3"/>
              </a:buClr>
            </a:pPr>
            <a:r>
              <a:rPr lang="en-US" dirty="0">
                <a:latin typeface="+mj-lt"/>
              </a:rPr>
              <a:t>Inline Pressure Senso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7F8969-5ACD-B040-85AA-3BB6A1F0CD05}"/>
              </a:ext>
            </a:extLst>
          </p:cNvPr>
          <p:cNvSpPr txBox="1"/>
          <p:nvPr/>
        </p:nvSpPr>
        <p:spPr>
          <a:xfrm>
            <a:off x="3773714" y="3013510"/>
            <a:ext cx="3802744" cy="310341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571478">
              <a:lnSpc>
                <a:spcPts val="256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A Look @ the Value</a:t>
            </a:r>
          </a:p>
          <a:p>
            <a:pPr defTabSz="571478"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</a:pPr>
            <a:endParaRPr lang="en-US" sz="1200" b="1" dirty="0">
              <a:solidFill>
                <a:schemeClr val="accent2"/>
              </a:solidFill>
              <a:latin typeface="+mj-lt"/>
            </a:endParaRP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Keep operators </a:t>
            </a:r>
            <a:br>
              <a:rPr lang="en-US" sz="2800" b="1" dirty="0">
                <a:solidFill>
                  <a:schemeClr val="accent2"/>
                </a:solidFill>
                <a:latin typeface="+mj-lt"/>
              </a:rPr>
            </a:br>
            <a:r>
              <a:rPr lang="en-US" sz="2800" b="1" dirty="0">
                <a:solidFill>
                  <a:schemeClr val="accent2"/>
                </a:solidFill>
                <a:latin typeface="+mj-lt"/>
              </a:rPr>
              <a:t>safe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Help prevent over- and under-pressure events</a:t>
            </a:r>
          </a:p>
          <a:p>
            <a:pPr marL="342900" indent="-342900" defTabSz="571478">
              <a:lnSpc>
                <a:spcPts val="2560"/>
              </a:lnSpc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Prevent costly spills</a:t>
            </a:r>
          </a:p>
        </p:txBody>
      </p:sp>
    </p:spTree>
    <p:extLst>
      <p:ext uri="{BB962C8B-B14F-4D97-AF65-F5344CB8AC3E}">
        <p14:creationId xmlns:p14="http://schemas.microsoft.com/office/powerpoint/2010/main" val="22896124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5303EA-C9E8-694D-8540-6ECED9DF1D83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6802438" y="2148612"/>
            <a:ext cx="2164796" cy="2372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560"/>
              </a:lnSpc>
              <a:spcAft>
                <a:spcPts val="600"/>
              </a:spcAft>
              <a:buClr>
                <a:schemeClr val="accent3"/>
              </a:buClr>
            </a:pPr>
            <a:r>
              <a:rPr lang="en-US" sz="2800" dirty="0">
                <a:latin typeface="+mj-lt"/>
              </a:rPr>
              <a:t>CPI Drivers</a:t>
            </a:r>
            <a:br>
              <a:rPr lang="en-US" sz="2800" dirty="0">
                <a:latin typeface="+mj-lt"/>
              </a:rPr>
            </a:br>
            <a:endParaRPr lang="en-US" sz="2400" dirty="0">
              <a:latin typeface="+mj-lt"/>
            </a:endParaRP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Safety</a:t>
            </a: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Efficiency</a:t>
            </a: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Ease of Use</a:t>
            </a:r>
          </a:p>
        </p:txBody>
      </p:sp>
      <p:pic>
        <p:nvPicPr>
          <p:cNvPr id="18" name="Picture 17" descr="Table&#10;&#10;Description automatically generated">
            <a:extLst>
              <a:ext uri="{FF2B5EF4-FFF2-40B4-BE49-F238E27FC236}">
                <a16:creationId xmlns:a16="http://schemas.microsoft.com/office/drawing/2014/main" id="{CB7376E3-72EA-284B-8054-EC842A5B60C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10" t="51985" r="79823" b="41548"/>
          <a:stretch/>
        </p:blipFill>
        <p:spPr>
          <a:xfrm>
            <a:off x="351831" y="1662113"/>
            <a:ext cx="1148747" cy="1384130"/>
          </a:xfrm>
          <a:prstGeom prst="rect">
            <a:avLst/>
          </a:prstGeom>
        </p:spPr>
      </p:pic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DA61E44B-910B-8645-A2EC-E7FCA8029A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83" y="3587998"/>
            <a:ext cx="1148747" cy="1117559"/>
          </a:xfrm>
          <a:prstGeom prst="rect">
            <a:avLst/>
          </a:prstGeom>
        </p:spPr>
      </p:pic>
      <p:pic>
        <p:nvPicPr>
          <p:cNvPr id="20" name="Picture 19" descr="Table&#10;&#10;Description automatically generated">
            <a:extLst>
              <a:ext uri="{FF2B5EF4-FFF2-40B4-BE49-F238E27FC236}">
                <a16:creationId xmlns:a16="http://schemas.microsoft.com/office/drawing/2014/main" id="{2A71C9A0-A6E5-AE4E-98CD-AB078AE20FA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10" t="51985" r="79823" b="42415"/>
          <a:stretch/>
        </p:blipFill>
        <p:spPr>
          <a:xfrm>
            <a:off x="5544530" y="3592873"/>
            <a:ext cx="1168086" cy="126010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18069E1D-60F0-8640-B798-731371F29EEB}"/>
              </a:ext>
            </a:extLst>
          </p:cNvPr>
          <p:cNvSpPr/>
          <p:nvPr/>
        </p:nvSpPr>
        <p:spPr>
          <a:xfrm>
            <a:off x="5666918" y="3761618"/>
            <a:ext cx="918631" cy="87374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226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rta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40F820-7EEC-4641-9570-9F4667D89D12}"/>
              </a:ext>
            </a:extLst>
          </p:cNvPr>
          <p:cNvSpPr txBox="1"/>
          <p:nvPr/>
        </p:nvSpPr>
        <p:spPr>
          <a:xfrm>
            <a:off x="5395782" y="3588424"/>
            <a:ext cx="1461857" cy="1234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421" b="1" dirty="0">
                <a:solidFill>
                  <a:srgbClr val="002060"/>
                </a:solidFill>
                <a:latin typeface="Averta"/>
              </a:rPr>
              <a:t>$</a:t>
            </a:r>
            <a:endParaRPr lang="en-US" sz="7421" dirty="0">
              <a:solidFill>
                <a:srgbClr val="002060"/>
              </a:solidFill>
              <a:latin typeface="Averta"/>
            </a:endParaRP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EBBB7E8D-3308-E548-B6E6-657324011F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8888" y="1662114"/>
            <a:ext cx="1213728" cy="112742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F190A83B-3675-2846-B37C-E3553E1C8366}"/>
              </a:ext>
            </a:extLst>
          </p:cNvPr>
          <p:cNvSpPr txBox="1"/>
          <p:nvPr/>
        </p:nvSpPr>
        <p:spPr>
          <a:xfrm>
            <a:off x="1616876" y="1690688"/>
            <a:ext cx="1772417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REDUCE</a:t>
            </a:r>
          </a:p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DOWNTI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F8CB2B6-8B0C-5C4F-883B-4700B0D26F5B}"/>
              </a:ext>
            </a:extLst>
          </p:cNvPr>
          <p:cNvSpPr txBox="1"/>
          <p:nvPr/>
        </p:nvSpPr>
        <p:spPr>
          <a:xfrm>
            <a:off x="1500577" y="3661201"/>
            <a:ext cx="1772417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INCREASE</a:t>
            </a:r>
            <a:br>
              <a:rPr lang="en-US" sz="2100" dirty="0">
                <a:solidFill>
                  <a:srgbClr val="0064C8"/>
                </a:solidFill>
                <a:latin typeface="Averta Light"/>
              </a:rPr>
            </a:br>
            <a:r>
              <a:rPr lang="en-US" sz="2100" dirty="0">
                <a:solidFill>
                  <a:srgbClr val="0064C8"/>
                </a:solidFill>
                <a:latin typeface="Averta Light"/>
              </a:rPr>
              <a:t>PRODUCTION</a:t>
            </a:r>
          </a:p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YIEL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40A64C-3AB3-C84A-AE08-1EC1151453BF}"/>
              </a:ext>
            </a:extLst>
          </p:cNvPr>
          <p:cNvSpPr txBox="1"/>
          <p:nvPr/>
        </p:nvSpPr>
        <p:spPr>
          <a:xfrm>
            <a:off x="3505591" y="1690688"/>
            <a:ext cx="1940843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IMPROVE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PRODUCTIVITY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WORKFLO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D552040-7D74-3B48-BFFA-0483F10AD13A}"/>
              </a:ext>
            </a:extLst>
          </p:cNvPr>
          <p:cNvSpPr txBox="1"/>
          <p:nvPr/>
        </p:nvSpPr>
        <p:spPr>
          <a:xfrm>
            <a:off x="3505591" y="3661202"/>
            <a:ext cx="1940843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IMPROVE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CASHFLOW &amp;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PROFITABILITY</a:t>
            </a:r>
          </a:p>
        </p:txBody>
      </p:sp>
    </p:spTree>
    <p:extLst>
      <p:ext uri="{BB962C8B-B14F-4D97-AF65-F5344CB8AC3E}">
        <p14:creationId xmlns:p14="http://schemas.microsoft.com/office/powerpoint/2010/main" val="37543408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05BB43-8FF9-6C4A-8F69-E646C0DFA0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485"/>
          <a:stretch/>
        </p:blipFill>
        <p:spPr>
          <a:xfrm>
            <a:off x="4706372" y="1714501"/>
            <a:ext cx="4041321" cy="3698420"/>
          </a:xfrm>
          <a:prstGeom prst="rect">
            <a:avLst/>
          </a:prstGeom>
        </p:spPr>
      </p:pic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255C68C-8E20-D647-B9D5-A2D460F6ED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678" y="1714499"/>
            <a:ext cx="4099718" cy="4380178"/>
          </a:xfrm>
        </p:spPr>
        <p:txBody>
          <a:bodyPr/>
          <a:lstStyle/>
          <a:p>
            <a:pPr marL="9525">
              <a:lnSpc>
                <a:spcPct val="100000"/>
              </a:lnSpc>
            </a:pPr>
            <a:r>
              <a:rPr lang="en-US" sz="3200" spc="8" dirty="0"/>
              <a:t>The hardware you choose can help </a:t>
            </a:r>
            <a:br>
              <a:rPr lang="en-US" sz="3200" spc="8" dirty="0"/>
            </a:br>
            <a:r>
              <a:rPr lang="en-US" sz="3200" spc="8" dirty="0"/>
              <a:t>you achieve your </a:t>
            </a:r>
            <a:br>
              <a:rPr lang="en-US" sz="3200" spc="8" dirty="0"/>
            </a:br>
            <a:r>
              <a:rPr lang="en-US" sz="3200" spc="8" dirty="0">
                <a:solidFill>
                  <a:srgbClr val="00B0F0"/>
                </a:solidFill>
              </a:rPr>
              <a:t>top CPI priorities!</a:t>
            </a:r>
            <a:endParaRPr lang="en-US" sz="3200" spc="-4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2196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678" y="2104572"/>
            <a:ext cx="4099718" cy="2018008"/>
          </a:xfrm>
        </p:spPr>
        <p:txBody>
          <a:bodyPr/>
          <a:lstStyle/>
          <a:p>
            <a:r>
              <a:rPr lang="en-US" dirty="0"/>
              <a:t>DRIVING CONTINUOUS PROCESS IMPROVEMENT (CPI) OF FLUID TRANSFER Processes THROUGH EMERGING TECHNOLOGI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2800" b="1" i="1" dirty="0"/>
              <a:t>THANK YOU FOR ATTENDING!</a:t>
            </a:r>
          </a:p>
        </p:txBody>
      </p:sp>
    </p:spTree>
    <p:extLst>
      <p:ext uri="{BB962C8B-B14F-4D97-AF65-F5344CB8AC3E}">
        <p14:creationId xmlns:p14="http://schemas.microsoft.com/office/powerpoint/2010/main" val="4086439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86149CD-40CE-694C-82A5-B13A70A1A89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415"/>
          <a:stretch/>
        </p:blipFill>
        <p:spPr>
          <a:xfrm>
            <a:off x="5628124" y="2007632"/>
            <a:ext cx="2439982" cy="2842736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7393D24E-683D-48D2-AB5E-7A1F596759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94" y="3064010"/>
            <a:ext cx="3826933" cy="48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1765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DB5AAC-5496-2F41-ABFA-6CAE17011B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DB5AAC-5496-2F41-ABFA-6CAE17011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CC2CA91-D283-9340-A412-B547ED52A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dirty="0">
              <a:gradFill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</a:gra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8D00CBF-13BA-4AB7-A524-E4F4BE46AE73}"/>
              </a:ext>
            </a:extLst>
          </p:cNvPr>
          <p:cNvSpPr/>
          <p:nvPr/>
        </p:nvSpPr>
        <p:spPr>
          <a:xfrm>
            <a:off x="0" y="1042624"/>
            <a:ext cx="9144000" cy="4958127"/>
          </a:xfrm>
          <a:prstGeom prst="rect">
            <a:avLst/>
          </a:prstGeom>
          <a:gradFill>
            <a:gsLst>
              <a:gs pos="9000">
                <a:schemeClr val="accent1"/>
              </a:gs>
              <a:gs pos="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27AFDDC2-0E18-1542-8E01-8A734F7ADEC7}"/>
              </a:ext>
            </a:extLst>
          </p:cNvPr>
          <p:cNvSpPr/>
          <p:nvPr/>
        </p:nvSpPr>
        <p:spPr>
          <a:xfrm>
            <a:off x="2104119" y="3737086"/>
            <a:ext cx="1116233" cy="111623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gradFill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</a:gra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F8C0AA2-0F44-0046-8454-27AB1886BFD3}"/>
              </a:ext>
            </a:extLst>
          </p:cNvPr>
          <p:cNvSpPr/>
          <p:nvPr/>
        </p:nvSpPr>
        <p:spPr bwMode="auto">
          <a:xfrm>
            <a:off x="2092443" y="3894729"/>
            <a:ext cx="1120209" cy="78483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lvl="1" algn="ctr">
              <a:buClr>
                <a:srgbClr val="0E366A"/>
              </a:buClr>
              <a:defRPr/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10 of </a:t>
            </a:r>
            <a:b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top 10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biotech and </a:t>
            </a:r>
          </a:p>
          <a:p>
            <a:pPr marL="0" lvl="1" algn="ctr">
              <a:buClr>
                <a:srgbClr val="0E366A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pharma </a:t>
            </a:r>
          </a:p>
          <a:p>
            <a:pPr marL="0" lvl="1" algn="ctr">
              <a:buClr>
                <a:srgbClr val="0E366A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  <a:sym typeface="Calibri" panose="020F0502020204030204" pitchFamily="34" charset="0"/>
              </a:rPr>
              <a:t>companies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89FF088-1984-4B4E-B573-264196BF22B9}"/>
              </a:ext>
            </a:extLst>
          </p:cNvPr>
          <p:cNvSpPr/>
          <p:nvPr/>
        </p:nvSpPr>
        <p:spPr>
          <a:xfrm>
            <a:off x="401671" y="3685285"/>
            <a:ext cx="1491327" cy="1491327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gradFill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</a:gra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2F8DA91-E7EE-7E41-80A9-EAF1EA50F55D}"/>
              </a:ext>
            </a:extLst>
          </p:cNvPr>
          <p:cNvSpPr/>
          <p:nvPr/>
        </p:nvSpPr>
        <p:spPr bwMode="auto">
          <a:xfrm>
            <a:off x="447042" y="4068489"/>
            <a:ext cx="1386456" cy="78483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anchor="b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marL="0" lvl="1" algn="ctr" defTabSz="685800">
              <a:buClr>
                <a:srgbClr val="0E366A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Avantor’s solutions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specified in </a:t>
            </a:r>
            <a:b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Calibri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Calibri" panose="020F0502020204030204" pitchFamily="34" charset="0"/>
                <a:ea typeface="Calibri" charset="0"/>
                <a:cs typeface="Arial" panose="020B0604020202020204" pitchFamily="34" charset="0"/>
                <a:sym typeface="Calibri" panose="020F0502020204030204" pitchFamily="34" charset="0"/>
              </a:rPr>
              <a:t>&gt;80% of the </a:t>
            </a:r>
            <a:br>
              <a:rPr lang="en-US" sz="1200" b="1" kern="0" dirty="0">
                <a:solidFill>
                  <a:schemeClr val="bg1"/>
                </a:solidFill>
                <a:latin typeface="Calibri" panose="020F0502020204030204" pitchFamily="34" charset="0"/>
                <a:ea typeface="Calibri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Calibri" panose="020F0502020204030204" pitchFamily="34" charset="0"/>
                <a:ea typeface="Calibri" charset="0"/>
                <a:cs typeface="Arial" panose="020B0604020202020204" pitchFamily="34" charset="0"/>
                <a:sym typeface="Calibri" panose="020F0502020204030204" pitchFamily="34" charset="0"/>
              </a:rPr>
              <a:t>top 20 </a:t>
            </a:r>
            <a:b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Calibri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biologic drugs</a:t>
            </a:r>
            <a:endParaRPr lang="en-US" sz="900" baseline="300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01BE2492-2FB3-A846-98B8-844735545E20}"/>
              </a:ext>
            </a:extLst>
          </p:cNvPr>
          <p:cNvSpPr/>
          <p:nvPr/>
        </p:nvSpPr>
        <p:spPr>
          <a:xfrm>
            <a:off x="5313378" y="3600913"/>
            <a:ext cx="1593587" cy="1593587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gradFill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</a:gra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81C9647-E15A-5549-A87A-CC92B91FDA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0664" y="3864248"/>
            <a:ext cx="2020624" cy="1276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anchor="b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marL="0" lvl="1" algn="ctr">
              <a:lnSpc>
                <a:spcPct val="90000"/>
              </a:lnSpc>
              <a:buClr>
                <a:srgbClr val="0E366A"/>
              </a:buClr>
              <a:defRPr/>
            </a:pPr>
            <a:r>
              <a:rPr lang="en-US" alt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A global network of </a:t>
            </a:r>
          </a:p>
          <a:p>
            <a:pPr marL="0" lvl="1" algn="ctr">
              <a:lnSpc>
                <a:spcPct val="90000"/>
              </a:lnSpc>
              <a:buClr>
                <a:srgbClr val="0E366A"/>
              </a:buClr>
              <a:defRPr/>
            </a:pPr>
            <a:r>
              <a:rPr lang="en-US" alt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cGMP </a:t>
            </a:r>
          </a:p>
          <a:p>
            <a:pPr marL="0" lvl="1" algn="ctr">
              <a:lnSpc>
                <a:spcPct val="90000"/>
              </a:lnSpc>
              <a:buClr>
                <a:srgbClr val="0E366A"/>
              </a:buClr>
              <a:defRPr/>
            </a:pPr>
            <a:r>
              <a:rPr lang="en-US" alt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manufacturing </a:t>
            </a:r>
          </a:p>
          <a:p>
            <a:pPr marL="0" lvl="1" algn="ctr">
              <a:lnSpc>
                <a:spcPct val="90000"/>
              </a:lnSpc>
              <a:buClr>
                <a:srgbClr val="0E366A"/>
              </a:buClr>
              <a:defRPr/>
            </a:pPr>
            <a:r>
              <a:rPr lang="en-US" alt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and ISO-certified </a:t>
            </a:r>
          </a:p>
          <a:p>
            <a:pPr marL="0" lvl="1" algn="ctr">
              <a:lnSpc>
                <a:spcPct val="90000"/>
              </a:lnSpc>
              <a:buClr>
                <a:srgbClr val="0E366A"/>
              </a:buClr>
              <a:defRPr/>
            </a:pPr>
            <a:r>
              <a:rPr lang="en-US" alt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distribution</a:t>
            </a:r>
          </a:p>
          <a:p>
            <a:pPr marL="0" lvl="1" algn="ctr">
              <a:buClr>
                <a:srgbClr val="0E366A"/>
              </a:buClr>
              <a:defRPr/>
            </a:pPr>
            <a:r>
              <a:rPr lang="en-US" alt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facilities present on </a:t>
            </a:r>
          </a:p>
          <a:p>
            <a:pPr marL="0" lvl="1" algn="ctr">
              <a:buClr>
                <a:srgbClr val="0E366A"/>
              </a:buClr>
              <a:defRPr/>
            </a:pPr>
            <a:r>
              <a:rPr lang="en-US" alt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3 continents</a:t>
            </a:r>
          </a:p>
          <a:p>
            <a:pPr marL="0" lvl="1" algn="ctr" defTabSz="685800">
              <a:spcBef>
                <a:spcPts val="225"/>
              </a:spcBef>
              <a:buClr>
                <a:srgbClr val="0E366A"/>
              </a:buClr>
              <a:defRPr/>
            </a:pPr>
            <a:endParaRPr lang="en-US" alt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688A0CB-093C-1443-8CC5-7CF29D4466FE}"/>
              </a:ext>
            </a:extLst>
          </p:cNvPr>
          <p:cNvSpPr/>
          <p:nvPr/>
        </p:nvSpPr>
        <p:spPr>
          <a:xfrm>
            <a:off x="3384183" y="3654355"/>
            <a:ext cx="1710832" cy="1710832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gradFill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</a:gra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9AB9DEA-5590-DE46-B718-898837A87CC1}"/>
              </a:ext>
            </a:extLst>
          </p:cNvPr>
          <p:cNvSpPr/>
          <p:nvPr/>
        </p:nvSpPr>
        <p:spPr bwMode="auto">
          <a:xfrm>
            <a:off x="3222014" y="3917434"/>
            <a:ext cx="2048360" cy="12527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anchor="b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marL="0" lvl="1" algn="ctr">
              <a:lnSpc>
                <a:spcPct val="110000"/>
              </a:lnSpc>
              <a:buClr>
                <a:srgbClr val="0E366A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Downstream buffer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product line covers </a:t>
            </a:r>
          </a:p>
          <a:p>
            <a:pPr marL="0" lvl="1" algn="ctr" defTabSz="685800">
              <a:lnSpc>
                <a:spcPct val="90000"/>
              </a:lnSpc>
              <a:buClr>
                <a:srgbClr val="0E366A"/>
              </a:buClr>
              <a:defRPr/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100% of the </a:t>
            </a:r>
          </a:p>
          <a:p>
            <a:pPr marL="0" lvl="1" algn="ctr" defTabSz="685800">
              <a:lnSpc>
                <a:spcPct val="90000"/>
              </a:lnSpc>
              <a:buClr>
                <a:srgbClr val="0E366A"/>
              </a:buClr>
              <a:defRPr/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traditional</a:t>
            </a:r>
            <a:b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buffers packages</a:t>
            </a: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 </a:t>
            </a:r>
          </a:p>
          <a:p>
            <a:pPr marL="0" lvl="1" algn="ctr" defTabSz="685800">
              <a:lnSpc>
                <a:spcPct val="110000"/>
              </a:lnSpc>
              <a:buClr>
                <a:srgbClr val="0E366A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used in a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biopharmaceutical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process</a:t>
            </a:r>
            <a:r>
              <a:rPr lang="en-US" sz="900" baseline="300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 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013FC57-3311-CE4C-B7D9-00B97F8444D8}"/>
              </a:ext>
            </a:extLst>
          </p:cNvPr>
          <p:cNvCxnSpPr>
            <a:cxnSpLocks/>
          </p:cNvCxnSpPr>
          <p:nvPr/>
        </p:nvCxnSpPr>
        <p:spPr bwMode="gray">
          <a:xfrm flipV="1">
            <a:off x="4246194" y="3235564"/>
            <a:ext cx="0" cy="430817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64">
            <a:extLst>
              <a:ext uri="{FF2B5EF4-FFF2-40B4-BE49-F238E27FC236}">
                <a16:creationId xmlns:a16="http://schemas.microsoft.com/office/drawing/2014/main" id="{06766542-E0F6-CA49-BA10-3B37C51A73EF}"/>
              </a:ext>
            </a:extLst>
          </p:cNvPr>
          <p:cNvSpPr/>
          <p:nvPr/>
        </p:nvSpPr>
        <p:spPr>
          <a:xfrm>
            <a:off x="7140341" y="3674222"/>
            <a:ext cx="1480571" cy="148057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gradFill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</a:gra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7E537AE-17DD-1A47-93CE-ECB0B2E68E6A}"/>
              </a:ext>
            </a:extLst>
          </p:cNvPr>
          <p:cNvSpPr/>
          <p:nvPr/>
        </p:nvSpPr>
        <p:spPr bwMode="auto">
          <a:xfrm>
            <a:off x="6865200" y="3955936"/>
            <a:ext cx="2019856" cy="94897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lIns="0" tIns="0" rIns="0" bIns="0" anchor="b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marL="0" lvl="1" algn="ctr" defTabSz="685800">
              <a:spcBef>
                <a:spcPts val="225"/>
              </a:spcBef>
              <a:buClr>
                <a:srgbClr val="0E366A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Formulation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product line covers</a:t>
            </a:r>
          </a:p>
          <a:p>
            <a:pPr marL="0" lvl="1" algn="ctr" defTabSz="685800">
              <a:buClr>
                <a:srgbClr val="0E366A"/>
              </a:buClr>
              <a:defRPr/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95% of the </a:t>
            </a:r>
            <a:b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excipients</a:t>
            </a:r>
            <a:r>
              <a:rPr lang="en-US" sz="1200" b="1" kern="0" dirty="0">
                <a:solidFill>
                  <a:schemeClr val="bg1"/>
                </a:solidFill>
                <a:latin typeface="Calibri" panose="020F0502020204030204" pitchFamily="34" charset="0"/>
                <a:ea typeface="Calibri" charset="0"/>
                <a:cs typeface="Arial" panose="020B0604020202020204" pitchFamily="34" charset="0"/>
                <a:sym typeface="Calibri" panose="020F0502020204030204" pitchFamily="34" charset="0"/>
              </a:rPr>
              <a:t> </a:t>
            </a:r>
          </a:p>
          <a:p>
            <a:pPr marL="0" lvl="1" algn="ctr" defTabSz="685800">
              <a:spcBef>
                <a:spcPts val="225"/>
              </a:spcBef>
              <a:buClr>
                <a:srgbClr val="0E366A"/>
              </a:buClr>
              <a:defRPr/>
            </a:pP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used in commercial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alibri" panose="020F0502020204030204" pitchFamily="34" charset="0"/>
              </a:rPr>
              <a:t>mAbs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0DF7035-1082-124E-A4E1-9E1DDA4B63F2}"/>
              </a:ext>
            </a:extLst>
          </p:cNvPr>
          <p:cNvCxnSpPr>
            <a:cxnSpLocks/>
            <a:stCxn id="54" idx="0"/>
          </p:cNvCxnSpPr>
          <p:nvPr/>
        </p:nvCxnSpPr>
        <p:spPr bwMode="gray">
          <a:xfrm flipV="1">
            <a:off x="1147334" y="3235564"/>
            <a:ext cx="0" cy="449721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8">
            <a:extLst>
              <a:ext uri="{FF2B5EF4-FFF2-40B4-BE49-F238E27FC236}">
                <a16:creationId xmlns:a16="http://schemas.microsoft.com/office/drawing/2014/main" id="{8F1B10D9-0E32-3F4B-8D70-9584EA8533F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47532" y="2801617"/>
            <a:ext cx="8699865" cy="727270"/>
          </a:xfrm>
          <a:prstGeom prst="rightArrow">
            <a:avLst>
              <a:gd name="adj1" fmla="val 66593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>
            <a:noAutofit/>
          </a:bodyPr>
          <a:lstStyle>
            <a:defPPr>
              <a:defRPr lang="en-US"/>
            </a:defPPr>
            <a:lvl1pPr algn="ctr">
              <a:buClr>
                <a:schemeClr val="bg1"/>
              </a:buClr>
              <a:defRPr sz="1650">
                <a:solidFill>
                  <a:schemeClr val="bg1"/>
                </a:solidFill>
                <a:latin typeface="Averta" pitchFamily="2" charset="77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 defTabSz="685800">
              <a:buClr>
                <a:prstClr val="white"/>
              </a:buClr>
              <a:defRPr/>
            </a:pPr>
            <a:endParaRPr lang="en-US" sz="1238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D35B4F6-B05A-2240-A050-0AFC471FFBC6}"/>
              </a:ext>
            </a:extLst>
          </p:cNvPr>
          <p:cNvSpPr txBox="1"/>
          <p:nvPr/>
        </p:nvSpPr>
        <p:spPr bwMode="gray">
          <a:xfrm>
            <a:off x="779887" y="2916343"/>
            <a:ext cx="716062" cy="485768"/>
          </a:xfrm>
          <a:prstGeom prst="rect">
            <a:avLst/>
          </a:prstGeom>
        </p:spPr>
        <p:txBody>
          <a:bodyPr vert="horz" wrap="none" lIns="0" tIns="34290" rIns="68580" bIns="34290" rtlCol="0" anchor="ctr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685800">
              <a:spcAft>
                <a:spcPts val="150"/>
              </a:spcAft>
              <a:buClr>
                <a:srgbClr val="00D649"/>
              </a:buClr>
              <a:buNone/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UPSTREA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AC6FA7F-1CB7-D440-8A6D-284FFDFC9ABB}"/>
              </a:ext>
            </a:extLst>
          </p:cNvPr>
          <p:cNvSpPr txBox="1"/>
          <p:nvPr/>
        </p:nvSpPr>
        <p:spPr bwMode="gray">
          <a:xfrm>
            <a:off x="7359979" y="2929305"/>
            <a:ext cx="802624" cy="485768"/>
          </a:xfrm>
          <a:prstGeom prst="rect">
            <a:avLst/>
          </a:prstGeom>
        </p:spPr>
        <p:txBody>
          <a:bodyPr vert="horz" wrap="none" lIns="0" tIns="34290" rIns="68580" bIns="34290" rtlCol="0" anchor="ctr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685800">
              <a:spcAft>
                <a:spcPts val="150"/>
              </a:spcAft>
              <a:buClr>
                <a:srgbClr val="00D649"/>
              </a:buClr>
              <a:buNone/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FILL/FINISH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A0BA57B7-AC6A-924B-99DE-CD07B6E0B369}"/>
              </a:ext>
            </a:extLst>
          </p:cNvPr>
          <p:cNvCxnSpPr>
            <a:cxnSpLocks/>
          </p:cNvCxnSpPr>
          <p:nvPr/>
        </p:nvCxnSpPr>
        <p:spPr bwMode="gray">
          <a:xfrm flipV="1">
            <a:off x="3876084" y="2746321"/>
            <a:ext cx="0" cy="186527"/>
          </a:xfrm>
          <a:prstGeom prst="line">
            <a:avLst/>
          </a:prstGeom>
          <a:ln w="9525">
            <a:solidFill>
              <a:schemeClr val="bg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ADC1A66F-2880-F449-9BE8-3B60AA863FC1}"/>
              </a:ext>
            </a:extLst>
          </p:cNvPr>
          <p:cNvCxnSpPr>
            <a:cxnSpLocks/>
          </p:cNvCxnSpPr>
          <p:nvPr/>
        </p:nvCxnSpPr>
        <p:spPr bwMode="gray">
          <a:xfrm flipV="1">
            <a:off x="4980275" y="2746321"/>
            <a:ext cx="0" cy="186527"/>
          </a:xfrm>
          <a:prstGeom prst="line">
            <a:avLst/>
          </a:prstGeom>
          <a:ln w="9525">
            <a:solidFill>
              <a:schemeClr val="bg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421F6CF-79EA-FB4E-8C25-6B4827EE0EC2}"/>
              </a:ext>
            </a:extLst>
          </p:cNvPr>
          <p:cNvSpPr txBox="1">
            <a:spLocks/>
          </p:cNvSpPr>
          <p:nvPr/>
        </p:nvSpPr>
        <p:spPr bwMode="gray">
          <a:xfrm>
            <a:off x="2712972" y="2259348"/>
            <a:ext cx="1577340" cy="480060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54007" tIns="54007" rIns="54007" bIns="54007" rtlCol="0" anchor="b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685800">
              <a:spcAft>
                <a:spcPts val="150"/>
              </a:spcAft>
              <a:buClr>
                <a:srgbClr val="00D649"/>
              </a:buClr>
              <a:buNone/>
              <a:defRPr/>
            </a:pPr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Flexible solutions </a:t>
            </a:r>
            <a:b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(e.g. Single Use fluid transfer) </a:t>
            </a:r>
            <a:b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for efficiency &amp; security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1FEF80C-8AA9-8940-A794-DC6EC791BA2E}"/>
              </a:ext>
            </a:extLst>
          </p:cNvPr>
          <p:cNvSpPr txBox="1">
            <a:spLocks/>
          </p:cNvSpPr>
          <p:nvPr/>
        </p:nvSpPr>
        <p:spPr bwMode="gray">
          <a:xfrm>
            <a:off x="4595992" y="2259348"/>
            <a:ext cx="1577340" cy="480060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54007" tIns="54007" rIns="54007" bIns="54007" rtlCol="0" anchor="b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429065">
              <a:lnSpc>
                <a:spcPct val="95000"/>
              </a:lnSpc>
              <a:spcAft>
                <a:spcPts val="150"/>
              </a:spcAft>
              <a:buClr>
                <a:srgbClr val="FFFFFF"/>
              </a:buClr>
              <a:buNone/>
              <a:defRPr/>
            </a:pPr>
            <a: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Production chemicals </a:t>
            </a:r>
            <a: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specified for customers’ processe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731BF30-D327-1A4E-94EA-CCC1AE51EE18}"/>
              </a:ext>
            </a:extLst>
          </p:cNvPr>
          <p:cNvSpPr txBox="1">
            <a:spLocks/>
          </p:cNvSpPr>
          <p:nvPr/>
        </p:nvSpPr>
        <p:spPr bwMode="gray">
          <a:xfrm>
            <a:off x="7320626" y="2267741"/>
            <a:ext cx="1577340" cy="480060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54007" tIns="54007" rIns="54007" bIns="54007" rtlCol="0" anchor="b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429065">
              <a:lnSpc>
                <a:spcPct val="95000"/>
              </a:lnSpc>
              <a:spcAft>
                <a:spcPts val="150"/>
              </a:spcAft>
              <a:buClr>
                <a:srgbClr val="FFFFFF"/>
              </a:buClr>
              <a:buNone/>
              <a:defRPr/>
            </a:pPr>
            <a: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High-purity customized excipients </a:t>
            </a:r>
            <a: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supporting drug stability &amp; shelf lif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545E174-D903-3C4D-8041-C6F478E54CC2}"/>
              </a:ext>
            </a:extLst>
          </p:cNvPr>
          <p:cNvSpPr txBox="1">
            <a:spLocks/>
          </p:cNvSpPr>
          <p:nvPr/>
        </p:nvSpPr>
        <p:spPr bwMode="gray">
          <a:xfrm>
            <a:off x="290084" y="2255441"/>
            <a:ext cx="1714500" cy="480060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54007" tIns="54007" rIns="54007" bIns="54007" rtlCol="0" anchor="b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429065">
              <a:lnSpc>
                <a:spcPct val="95000"/>
              </a:lnSpc>
              <a:spcAft>
                <a:spcPts val="150"/>
              </a:spcAft>
              <a:buClr>
                <a:srgbClr val="FFFFFF"/>
              </a:buClr>
              <a:buNone/>
              <a:defRPr/>
            </a:pPr>
            <a: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Cell culture components  characterized &amp; specified </a:t>
            </a:r>
            <a:b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</a:br>
            <a: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for customer scale up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03B08F2-E16B-1A48-8C30-4E1B5D6D560E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2491657" y="2133740"/>
            <a:ext cx="2423" cy="795564"/>
          </a:xfrm>
          <a:prstGeom prst="line">
            <a:avLst/>
          </a:prstGeom>
          <a:ln w="9525">
            <a:solidFill>
              <a:schemeClr val="bg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2C42F7DE-6858-EC43-A2DC-5F2846B31D73}"/>
              </a:ext>
            </a:extLst>
          </p:cNvPr>
          <p:cNvSpPr txBox="1">
            <a:spLocks/>
          </p:cNvSpPr>
          <p:nvPr/>
        </p:nvSpPr>
        <p:spPr bwMode="gray">
          <a:xfrm>
            <a:off x="1259905" y="1734383"/>
            <a:ext cx="2263140" cy="427454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54007" tIns="54007" rIns="54007" bIns="54007" rtlCol="0" anchor="b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429065">
              <a:lnSpc>
                <a:spcPct val="95000"/>
              </a:lnSpc>
              <a:spcAft>
                <a:spcPts val="150"/>
              </a:spcAft>
              <a:buClr>
                <a:srgbClr val="FFFFFF"/>
              </a:buClr>
              <a:buNone/>
              <a:defRPr/>
            </a:pPr>
            <a: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Customized products and solutions </a:t>
            </a:r>
            <a:b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</a:br>
            <a: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(e.g., bag size, design, fill solutions)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068CE77-D397-B645-A0EA-71B284A3FA46}"/>
              </a:ext>
            </a:extLst>
          </p:cNvPr>
          <p:cNvCxnSpPr>
            <a:cxnSpLocks/>
          </p:cNvCxnSpPr>
          <p:nvPr/>
        </p:nvCxnSpPr>
        <p:spPr bwMode="gray">
          <a:xfrm flipV="1">
            <a:off x="6707927" y="2157579"/>
            <a:ext cx="0" cy="771727"/>
          </a:xfrm>
          <a:prstGeom prst="line">
            <a:avLst/>
          </a:prstGeom>
          <a:ln w="9525">
            <a:solidFill>
              <a:schemeClr val="bg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eur droit 74">
            <a:extLst>
              <a:ext uri="{FF2B5EF4-FFF2-40B4-BE49-F238E27FC236}">
                <a16:creationId xmlns:a16="http://schemas.microsoft.com/office/drawing/2014/main" id="{6E2BEC17-78F7-B646-8EBE-3CA3925BCDFB}"/>
              </a:ext>
            </a:extLst>
          </p:cNvPr>
          <p:cNvCxnSpPr>
            <a:cxnSpLocks/>
          </p:cNvCxnSpPr>
          <p:nvPr/>
        </p:nvCxnSpPr>
        <p:spPr>
          <a:xfrm flipV="1">
            <a:off x="246034" y="2742713"/>
            <a:ext cx="1475196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75">
            <a:extLst>
              <a:ext uri="{FF2B5EF4-FFF2-40B4-BE49-F238E27FC236}">
                <a16:creationId xmlns:a16="http://schemas.microsoft.com/office/drawing/2014/main" id="{7A1F5454-F89F-AE44-9E28-898C4348CE38}"/>
              </a:ext>
            </a:extLst>
          </p:cNvPr>
          <p:cNvCxnSpPr>
            <a:cxnSpLocks/>
          </p:cNvCxnSpPr>
          <p:nvPr/>
        </p:nvCxnSpPr>
        <p:spPr>
          <a:xfrm>
            <a:off x="1201466" y="2138837"/>
            <a:ext cx="209435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eur droit 76">
            <a:extLst>
              <a:ext uri="{FF2B5EF4-FFF2-40B4-BE49-F238E27FC236}">
                <a16:creationId xmlns:a16="http://schemas.microsoft.com/office/drawing/2014/main" id="{D91F533C-60EE-F042-9721-1D357293363F}"/>
              </a:ext>
            </a:extLst>
          </p:cNvPr>
          <p:cNvCxnSpPr>
            <a:cxnSpLocks/>
          </p:cNvCxnSpPr>
          <p:nvPr/>
        </p:nvCxnSpPr>
        <p:spPr>
          <a:xfrm>
            <a:off x="2703007" y="2742713"/>
            <a:ext cx="151821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eur droit 77">
            <a:extLst>
              <a:ext uri="{FF2B5EF4-FFF2-40B4-BE49-F238E27FC236}">
                <a16:creationId xmlns:a16="http://schemas.microsoft.com/office/drawing/2014/main" id="{C86E12B5-CF93-BC49-8091-2D26089E9190}"/>
              </a:ext>
            </a:extLst>
          </p:cNvPr>
          <p:cNvCxnSpPr>
            <a:cxnSpLocks/>
          </p:cNvCxnSpPr>
          <p:nvPr/>
        </p:nvCxnSpPr>
        <p:spPr>
          <a:xfrm>
            <a:off x="4571400" y="2742713"/>
            <a:ext cx="1574159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eur droit 78">
            <a:extLst>
              <a:ext uri="{FF2B5EF4-FFF2-40B4-BE49-F238E27FC236}">
                <a16:creationId xmlns:a16="http://schemas.microsoft.com/office/drawing/2014/main" id="{7A54DD30-D980-0B4C-BB25-D8B11EBB52AA}"/>
              </a:ext>
            </a:extLst>
          </p:cNvPr>
          <p:cNvCxnSpPr>
            <a:cxnSpLocks/>
          </p:cNvCxnSpPr>
          <p:nvPr/>
        </p:nvCxnSpPr>
        <p:spPr>
          <a:xfrm>
            <a:off x="5699776" y="2157578"/>
            <a:ext cx="1924715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eur droit 80">
            <a:extLst>
              <a:ext uri="{FF2B5EF4-FFF2-40B4-BE49-F238E27FC236}">
                <a16:creationId xmlns:a16="http://schemas.microsoft.com/office/drawing/2014/main" id="{B92DE42B-9224-E444-9DC8-CE281FB40040}"/>
              </a:ext>
            </a:extLst>
          </p:cNvPr>
          <p:cNvCxnSpPr>
            <a:cxnSpLocks/>
          </p:cNvCxnSpPr>
          <p:nvPr/>
        </p:nvCxnSpPr>
        <p:spPr>
          <a:xfrm>
            <a:off x="7277412" y="2742713"/>
            <a:ext cx="1382116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BD65BD4B-8CE8-3849-930E-7D4BBEFDC17D}"/>
              </a:ext>
            </a:extLst>
          </p:cNvPr>
          <p:cNvSpPr txBox="1">
            <a:spLocks/>
          </p:cNvSpPr>
          <p:nvPr/>
        </p:nvSpPr>
        <p:spPr bwMode="gray">
          <a:xfrm>
            <a:off x="5730488" y="1640759"/>
            <a:ext cx="1924715" cy="480060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429065">
              <a:lnSpc>
                <a:spcPct val="95000"/>
              </a:lnSpc>
              <a:spcAft>
                <a:spcPts val="150"/>
              </a:spcAft>
              <a:buClr>
                <a:srgbClr val="FFFFFF"/>
              </a:buClr>
              <a:buNone/>
              <a:defRPr/>
            </a:pPr>
            <a:r>
              <a:rPr lang="en-US" sz="900" b="1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Tailored processes and services </a:t>
            </a:r>
            <a:b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</a:br>
            <a: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(e.g., supply chain data analysis) </a:t>
            </a:r>
            <a:b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</a:br>
            <a:r>
              <a:rPr lang="en-US" sz="900" kern="0" dirty="0">
                <a:solidFill>
                  <a:schemeClr val="bg1"/>
                </a:solidFill>
                <a:latin typeface="Calibri" panose="020F0502020204030204" pitchFamily="34" charset="0"/>
                <a:ea typeface="Arial Unicode MS" pitchFamily="34" charset="-128"/>
                <a:sym typeface="Calibri" panose="020F0502020204030204" pitchFamily="34" charset="0"/>
              </a:rPr>
              <a:t>that cater to complex need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A665749-34CA-4E92-A553-92F09CA5E00B}"/>
              </a:ext>
            </a:extLst>
          </p:cNvPr>
          <p:cNvSpPr txBox="1"/>
          <p:nvPr/>
        </p:nvSpPr>
        <p:spPr bwMode="gray">
          <a:xfrm>
            <a:off x="3960287" y="2922367"/>
            <a:ext cx="916679" cy="485768"/>
          </a:xfrm>
          <a:prstGeom prst="rect">
            <a:avLst/>
          </a:prstGeom>
        </p:spPr>
        <p:txBody>
          <a:bodyPr vert="horz" wrap="none" lIns="0" tIns="34290" rIns="68580" bIns="34290" rtlCol="0" anchor="ctr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lvl="1" indent="-22860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Char char="‒"/>
              <a:defRPr sz="1600" b="0" u="none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0" lvl="2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lvl="3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Tx/>
              <a:buNone/>
              <a:defRPr sz="16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lvl="4" indent="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1600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0" lvl="5" indent="0">
              <a:lnSpc>
                <a:spcPct val="90000"/>
              </a:lnSpc>
              <a:spcBef>
                <a:spcPts val="500"/>
              </a:spcBef>
              <a:spcAft>
                <a:spcPts val="200"/>
              </a:spcAft>
              <a:buClr>
                <a:schemeClr val="accent3"/>
              </a:buClr>
              <a:buFont typeface="Averta" panose="00000500000000000000" pitchFamily="2" charset="0"/>
              <a:buNone/>
              <a:defRPr sz="3200" cap="none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accent3"/>
              </a:buClr>
              <a:buFontTx/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600"/>
              </a:spcBef>
              <a:buClr>
                <a:schemeClr val="accent3"/>
              </a:buClr>
              <a:buFontTx/>
              <a:buNone/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lvl="8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4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685800">
              <a:spcAft>
                <a:spcPts val="150"/>
              </a:spcAft>
              <a:buClr>
                <a:srgbClr val="00D649"/>
              </a:buClr>
              <a:buNone/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DOWNSTREAM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A8C5583-D7A1-894F-BB5C-DDDCA063D3F3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1208205" y="2746322"/>
            <a:ext cx="1" cy="182983"/>
          </a:xfrm>
          <a:prstGeom prst="line">
            <a:avLst/>
          </a:prstGeom>
          <a:ln w="9525">
            <a:solidFill>
              <a:schemeClr val="bg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05FEBCE0-9D8F-F347-82EB-98F517A597CF}"/>
              </a:ext>
            </a:extLst>
          </p:cNvPr>
          <p:cNvCxnSpPr>
            <a:cxnSpLocks/>
          </p:cNvCxnSpPr>
          <p:nvPr/>
        </p:nvCxnSpPr>
        <p:spPr bwMode="gray">
          <a:xfrm flipV="1">
            <a:off x="7644779" y="2746322"/>
            <a:ext cx="0" cy="182984"/>
          </a:xfrm>
          <a:prstGeom prst="line">
            <a:avLst/>
          </a:prstGeom>
          <a:ln w="9525">
            <a:solidFill>
              <a:schemeClr val="bg1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A38C233-09AF-C140-B9AA-F714E12CF18C}"/>
              </a:ext>
            </a:extLst>
          </p:cNvPr>
          <p:cNvCxnSpPr>
            <a:cxnSpLocks/>
          </p:cNvCxnSpPr>
          <p:nvPr/>
        </p:nvCxnSpPr>
        <p:spPr bwMode="gray">
          <a:xfrm flipV="1">
            <a:off x="7877261" y="3415073"/>
            <a:ext cx="0" cy="251309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lide Number Placeholder 1">
            <a:extLst>
              <a:ext uri="{FF2B5EF4-FFF2-40B4-BE49-F238E27FC236}">
                <a16:creationId xmlns:a16="http://schemas.microsoft.com/office/drawing/2014/main" id="{DBC8D968-93BB-4741-BEFB-F1DBD5ED1462}"/>
              </a:ext>
            </a:extLst>
          </p:cNvPr>
          <p:cNvSpPr txBox="1">
            <a:spLocks/>
          </p:cNvSpPr>
          <p:nvPr/>
        </p:nvSpPr>
        <p:spPr>
          <a:xfrm>
            <a:off x="8686800" y="5829300"/>
            <a:ext cx="342900" cy="17145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B5B0E8-4867-45E4-949A-F4C18B48AED8}" type="slidenum">
              <a:rPr lang="en-US" sz="600">
                <a:solidFill>
                  <a:schemeClr val="bg1"/>
                </a:solidFill>
              </a:rPr>
              <a:pPr/>
              <a:t>4</a:t>
            </a:fld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46" name="Title 18">
            <a:extLst>
              <a:ext uri="{FF2B5EF4-FFF2-40B4-BE49-F238E27FC236}">
                <a16:creationId xmlns:a16="http://schemas.microsoft.com/office/drawing/2014/main" id="{5B92CE5F-53C7-44A7-A590-A1BE91F0786C}"/>
              </a:ext>
            </a:extLst>
          </p:cNvPr>
          <p:cNvSpPr txBox="1">
            <a:spLocks/>
          </p:cNvSpPr>
          <p:nvPr/>
        </p:nvSpPr>
        <p:spPr>
          <a:xfrm>
            <a:off x="0" y="5965511"/>
            <a:ext cx="9144000" cy="243440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350" dirty="0">
                <a:solidFill>
                  <a:schemeClr val="bg1"/>
                </a:solidFill>
              </a:rPr>
              <a:t>Learn more at www.avantorsciences.com</a:t>
            </a:r>
            <a:endParaRPr lang="en-US" sz="1350" dirty="0">
              <a:solidFill>
                <a:schemeClr val="bg1"/>
              </a:solidFill>
              <a:latin typeface="Averta Bold" panose="00000800000000000000" pitchFamily="50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30C1808-A739-4438-8E8A-B517FFCE14BA}"/>
              </a:ext>
            </a:extLst>
          </p:cNvPr>
          <p:cNvSpPr txBox="1"/>
          <p:nvPr/>
        </p:nvSpPr>
        <p:spPr>
          <a:xfrm>
            <a:off x="59531" y="149364"/>
            <a:ext cx="702127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  <a:latin typeface="+mn-lt"/>
              </a:rPr>
              <a:t>Avantor’s leading bioproduction solutions are designed to meet the unique challenges of the industry</a:t>
            </a:r>
            <a:endParaRPr lang="en-US" sz="2000" b="1" dirty="0">
              <a:solidFill>
                <a:schemeClr val="accent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976B7E-4B6D-40B7-8F06-15A6CBCB8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 descr="A picture containing icon&#10;&#10;Description automatically generated">
            <a:extLst>
              <a:ext uri="{FF2B5EF4-FFF2-40B4-BE49-F238E27FC236}">
                <a16:creationId xmlns:a16="http://schemas.microsoft.com/office/drawing/2014/main" id="{E4E1E62E-A8C6-4306-9370-2E4D42D70F6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809" y="206461"/>
            <a:ext cx="1866588" cy="23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36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6" name="Picture 5" descr="A person in a white lab coat&#10;&#10;Description automatically generated with low confidence">
            <a:extLst>
              <a:ext uri="{FF2B5EF4-FFF2-40B4-BE49-F238E27FC236}">
                <a16:creationId xmlns:a16="http://schemas.microsoft.com/office/drawing/2014/main" id="{D31186A2-C7C9-A944-9ACC-CEBA622F2459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t="5407" r="2" b="8896"/>
          <a:stretch/>
        </p:blipFill>
        <p:spPr>
          <a:xfrm>
            <a:off x="1760220" y="1536271"/>
            <a:ext cx="5623560" cy="3498056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32545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7EDD911A-EC5E-EA40-B824-4E17BE689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681163"/>
            <a:ext cx="5940795" cy="368912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5303EA-C9E8-694D-8540-6ECED9DF1D83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6802438" y="2148612"/>
            <a:ext cx="1957917" cy="230832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560"/>
              </a:lnSpc>
              <a:spcAft>
                <a:spcPts val="600"/>
              </a:spcAft>
              <a:buClr>
                <a:schemeClr val="accent3"/>
              </a:buClr>
            </a:pPr>
            <a:r>
              <a:rPr lang="en-US" sz="2400" dirty="0">
                <a:latin typeface="+mj-lt"/>
              </a:rPr>
              <a:t>3 Stages of Development</a:t>
            </a:r>
            <a:br>
              <a:rPr lang="en-US" sz="1800" dirty="0">
                <a:latin typeface="+mj-lt"/>
              </a:rPr>
            </a:br>
            <a:endParaRPr lang="en-US" sz="1200" dirty="0">
              <a:latin typeface="+mj-lt"/>
            </a:endParaRP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R&amp;D</a:t>
            </a: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Pilot Plant</a:t>
            </a: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Production</a:t>
            </a:r>
          </a:p>
        </p:txBody>
      </p:sp>
    </p:spTree>
    <p:extLst>
      <p:ext uri="{BB962C8B-B14F-4D97-AF65-F5344CB8AC3E}">
        <p14:creationId xmlns:p14="http://schemas.microsoft.com/office/powerpoint/2010/main" val="30159258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4" name="Picture 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2FBDEF6-2943-9243-9B23-B35C7625A9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002" y="1704975"/>
            <a:ext cx="5189996" cy="344805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102261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5303EA-C9E8-694D-8540-6ECED9DF1D83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6802438" y="2148612"/>
            <a:ext cx="2164796" cy="2372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560"/>
              </a:lnSpc>
              <a:spcAft>
                <a:spcPts val="600"/>
              </a:spcAft>
              <a:buClr>
                <a:schemeClr val="accent3"/>
              </a:buClr>
            </a:pPr>
            <a:r>
              <a:rPr lang="en-US" sz="2800" dirty="0">
                <a:latin typeface="+mj-lt"/>
              </a:rPr>
              <a:t>CPI Drivers</a:t>
            </a:r>
            <a:br>
              <a:rPr lang="en-US" sz="2800" dirty="0">
                <a:latin typeface="+mj-lt"/>
              </a:rPr>
            </a:br>
            <a:endParaRPr lang="en-US" sz="2400" dirty="0">
              <a:latin typeface="+mj-lt"/>
            </a:endParaRP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Safety</a:t>
            </a: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Efficiency</a:t>
            </a:r>
          </a:p>
          <a:p>
            <a:pPr marL="342900" indent="-342900">
              <a:lnSpc>
                <a:spcPts val="2560"/>
              </a:lnSpc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Ease of Use</a:t>
            </a:r>
          </a:p>
        </p:txBody>
      </p:sp>
      <p:pic>
        <p:nvPicPr>
          <p:cNvPr id="18" name="Picture 17" descr="Table&#10;&#10;Description automatically generated">
            <a:extLst>
              <a:ext uri="{FF2B5EF4-FFF2-40B4-BE49-F238E27FC236}">
                <a16:creationId xmlns:a16="http://schemas.microsoft.com/office/drawing/2014/main" id="{CB7376E3-72EA-284B-8054-EC842A5B60C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10" t="51985" r="79823" b="41548"/>
          <a:stretch/>
        </p:blipFill>
        <p:spPr>
          <a:xfrm>
            <a:off x="351831" y="1662113"/>
            <a:ext cx="1148747" cy="1384130"/>
          </a:xfrm>
          <a:prstGeom prst="rect">
            <a:avLst/>
          </a:prstGeom>
        </p:spPr>
      </p:pic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DA61E44B-910B-8645-A2EC-E7FCA8029A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83" y="3587998"/>
            <a:ext cx="1148747" cy="1117559"/>
          </a:xfrm>
          <a:prstGeom prst="rect">
            <a:avLst/>
          </a:prstGeom>
        </p:spPr>
      </p:pic>
      <p:pic>
        <p:nvPicPr>
          <p:cNvPr id="20" name="Picture 19" descr="Table&#10;&#10;Description automatically generated">
            <a:extLst>
              <a:ext uri="{FF2B5EF4-FFF2-40B4-BE49-F238E27FC236}">
                <a16:creationId xmlns:a16="http://schemas.microsoft.com/office/drawing/2014/main" id="{2A71C9A0-A6E5-AE4E-98CD-AB078AE20FA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10" t="51985" r="79823" b="42415"/>
          <a:stretch/>
        </p:blipFill>
        <p:spPr>
          <a:xfrm>
            <a:off x="5544530" y="3592873"/>
            <a:ext cx="1168086" cy="126010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18069E1D-60F0-8640-B798-731371F29EEB}"/>
              </a:ext>
            </a:extLst>
          </p:cNvPr>
          <p:cNvSpPr/>
          <p:nvPr/>
        </p:nvSpPr>
        <p:spPr>
          <a:xfrm>
            <a:off x="5666918" y="3761618"/>
            <a:ext cx="918631" cy="87374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226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rta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40F820-7EEC-4641-9570-9F4667D89D12}"/>
              </a:ext>
            </a:extLst>
          </p:cNvPr>
          <p:cNvSpPr txBox="1"/>
          <p:nvPr/>
        </p:nvSpPr>
        <p:spPr>
          <a:xfrm>
            <a:off x="5395782" y="3588424"/>
            <a:ext cx="1461857" cy="1234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421" b="1" dirty="0">
                <a:solidFill>
                  <a:srgbClr val="002060"/>
                </a:solidFill>
                <a:latin typeface="Averta"/>
              </a:rPr>
              <a:t>$</a:t>
            </a:r>
            <a:endParaRPr lang="en-US" sz="7421" dirty="0">
              <a:solidFill>
                <a:srgbClr val="002060"/>
              </a:solidFill>
              <a:latin typeface="Averta"/>
            </a:endParaRP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EBBB7E8D-3308-E548-B6E6-657324011F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8888" y="1662114"/>
            <a:ext cx="1213728" cy="112742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F190A83B-3675-2846-B37C-E3553E1C8366}"/>
              </a:ext>
            </a:extLst>
          </p:cNvPr>
          <p:cNvSpPr txBox="1"/>
          <p:nvPr/>
        </p:nvSpPr>
        <p:spPr>
          <a:xfrm>
            <a:off x="1616876" y="1690688"/>
            <a:ext cx="1772417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REDUCE</a:t>
            </a:r>
          </a:p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DOWNTI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F8CB2B6-8B0C-5C4F-883B-4700B0D26F5B}"/>
              </a:ext>
            </a:extLst>
          </p:cNvPr>
          <p:cNvSpPr txBox="1"/>
          <p:nvPr/>
        </p:nvSpPr>
        <p:spPr>
          <a:xfrm>
            <a:off x="1500577" y="3661201"/>
            <a:ext cx="1772417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INCREASE</a:t>
            </a:r>
            <a:br>
              <a:rPr lang="en-US" sz="2100" dirty="0">
                <a:solidFill>
                  <a:srgbClr val="0064C8"/>
                </a:solidFill>
                <a:latin typeface="Averta Light"/>
              </a:rPr>
            </a:br>
            <a:r>
              <a:rPr lang="en-US" sz="2100" dirty="0">
                <a:solidFill>
                  <a:srgbClr val="0064C8"/>
                </a:solidFill>
                <a:latin typeface="Averta Light"/>
              </a:rPr>
              <a:t>PRODUCTION</a:t>
            </a:r>
          </a:p>
          <a:p>
            <a:pPr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YIEL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40A64C-3AB3-C84A-AE08-1EC1151453BF}"/>
              </a:ext>
            </a:extLst>
          </p:cNvPr>
          <p:cNvSpPr txBox="1"/>
          <p:nvPr/>
        </p:nvSpPr>
        <p:spPr>
          <a:xfrm>
            <a:off x="3505591" y="1690688"/>
            <a:ext cx="1940843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IMPROVE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PRODUCTIVITY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WORKFLO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D552040-7D74-3B48-BFFA-0483F10AD13A}"/>
              </a:ext>
            </a:extLst>
          </p:cNvPr>
          <p:cNvSpPr txBox="1"/>
          <p:nvPr/>
        </p:nvSpPr>
        <p:spPr>
          <a:xfrm>
            <a:off x="3505591" y="3661202"/>
            <a:ext cx="1940843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IMPROVE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CASHFLOW &amp;</a:t>
            </a:r>
          </a:p>
          <a:p>
            <a:pPr algn="r">
              <a:buClr>
                <a:srgbClr val="00D649"/>
              </a:buClr>
            </a:pPr>
            <a:r>
              <a:rPr lang="en-US" sz="2100" dirty="0">
                <a:solidFill>
                  <a:srgbClr val="0064C8"/>
                </a:solidFill>
                <a:latin typeface="Averta Light"/>
              </a:rPr>
              <a:t>PROFITABILITY</a:t>
            </a:r>
          </a:p>
        </p:txBody>
      </p:sp>
    </p:spTree>
    <p:extLst>
      <p:ext uri="{BB962C8B-B14F-4D97-AF65-F5344CB8AC3E}">
        <p14:creationId xmlns:p14="http://schemas.microsoft.com/office/powerpoint/2010/main" val="38845996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riving Continuous Process Improvement (CPI) of </a:t>
            </a:r>
            <a:br>
              <a:rPr lang="en-US" dirty="0"/>
            </a:br>
            <a:r>
              <a:rPr lang="en-US" dirty="0"/>
              <a:t>Fluid Transfer Processes through Emerging Technologi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05BB43-8FF9-6C4A-8F69-E646C0DFA0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485"/>
          <a:stretch/>
        </p:blipFill>
        <p:spPr>
          <a:xfrm>
            <a:off x="4706372" y="1714501"/>
            <a:ext cx="4041321" cy="3698420"/>
          </a:xfrm>
          <a:prstGeom prst="rect">
            <a:avLst/>
          </a:prstGeom>
        </p:spPr>
      </p:pic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D255C68C-8E20-D647-B9D5-A2D460F6ED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678" y="1714499"/>
            <a:ext cx="4099718" cy="4380178"/>
          </a:xfrm>
        </p:spPr>
        <p:txBody>
          <a:bodyPr/>
          <a:lstStyle/>
          <a:p>
            <a:pPr marL="9525">
              <a:lnSpc>
                <a:spcPct val="100000"/>
              </a:lnSpc>
            </a:pPr>
            <a:r>
              <a:rPr lang="en-US" sz="3200" spc="8" dirty="0"/>
              <a:t>The hardware you choose can help </a:t>
            </a:r>
            <a:br>
              <a:rPr lang="en-US" sz="3200" spc="8" dirty="0"/>
            </a:br>
            <a:r>
              <a:rPr lang="en-US" sz="3200" spc="8" dirty="0"/>
              <a:t>you achieve your </a:t>
            </a:r>
            <a:br>
              <a:rPr lang="en-US" sz="3200" spc="8" dirty="0"/>
            </a:br>
            <a:r>
              <a:rPr lang="en-US" sz="3200" spc="8" dirty="0">
                <a:solidFill>
                  <a:srgbClr val="00B0F0"/>
                </a:solidFill>
              </a:rPr>
              <a:t>top CPI priorities!</a:t>
            </a:r>
            <a:endParaRPr lang="en-US" sz="3200" spc="-4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991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juSiLCzyB2qCM1iL82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Avantor Color Palette">
      <a:dk1>
        <a:srgbClr val="0064C8"/>
      </a:dk1>
      <a:lt1>
        <a:sysClr val="window" lastClr="FFFFFF"/>
      </a:lt1>
      <a:dk2>
        <a:srgbClr val="53565A"/>
      </a:dk2>
      <a:lt2>
        <a:srgbClr val="B1B3B3"/>
      </a:lt2>
      <a:accent1>
        <a:srgbClr val="0064C8"/>
      </a:accent1>
      <a:accent2>
        <a:srgbClr val="2EC4FF"/>
      </a:accent2>
      <a:accent3>
        <a:srgbClr val="00D649"/>
      </a:accent3>
      <a:accent4>
        <a:srgbClr val="236192"/>
      </a:accent4>
      <a:accent5>
        <a:srgbClr val="5C419E"/>
      </a:accent5>
      <a:accent6>
        <a:srgbClr val="F4715B"/>
      </a:accent6>
      <a:hlink>
        <a:srgbClr val="00D649"/>
      </a:hlink>
      <a:folHlink>
        <a:srgbClr val="0064C8"/>
      </a:folHlink>
    </a:clrScheme>
    <a:fontScheme name="Custom 2">
      <a:majorFont>
        <a:latin typeface="Averta Light"/>
        <a:ea typeface=""/>
        <a:cs typeface=""/>
      </a:majorFont>
      <a:minorFont>
        <a:latin typeface="Aver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marL="285750" indent="-285750" algn="l">
          <a:buClr>
            <a:schemeClr val="accent3"/>
          </a:buClr>
          <a:buFont typeface="Averta" panose="00000500000000000000" pitchFamily="2" charset="0"/>
          <a:buChar char="‒"/>
          <a:defRPr sz="1600" dirty="0" err="1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st.pptx" id="{12859DAB-8F48-4CB4-80FD-C62D5615E6EA}" vid="{1F90A044-DC74-4FA5-9127-845A13EC1FB7}"/>
    </a:ext>
  </a:extLst>
</a:theme>
</file>

<file path=ppt/theme/theme2.xml><?xml version="1.0" encoding="utf-8"?>
<a:theme xmlns:a="http://schemas.openxmlformats.org/drawingml/2006/main" name="1_Office Theme">
  <a:themeElements>
    <a:clrScheme name="Avantor Color Palette">
      <a:dk1>
        <a:srgbClr val="0064C8"/>
      </a:dk1>
      <a:lt1>
        <a:sysClr val="window" lastClr="FFFFFF"/>
      </a:lt1>
      <a:dk2>
        <a:srgbClr val="53565A"/>
      </a:dk2>
      <a:lt2>
        <a:srgbClr val="B1B3B3"/>
      </a:lt2>
      <a:accent1>
        <a:srgbClr val="0064C8"/>
      </a:accent1>
      <a:accent2>
        <a:srgbClr val="2EC4FF"/>
      </a:accent2>
      <a:accent3>
        <a:srgbClr val="00D649"/>
      </a:accent3>
      <a:accent4>
        <a:srgbClr val="236192"/>
      </a:accent4>
      <a:accent5>
        <a:srgbClr val="5C419E"/>
      </a:accent5>
      <a:accent6>
        <a:srgbClr val="F4715B"/>
      </a:accent6>
      <a:hlink>
        <a:srgbClr val="00D649"/>
      </a:hlink>
      <a:folHlink>
        <a:srgbClr val="0064C8"/>
      </a:folHlink>
    </a:clrScheme>
    <a:fontScheme name="Custom 2">
      <a:majorFont>
        <a:latin typeface="Averta Light"/>
        <a:ea typeface=""/>
        <a:cs typeface=""/>
      </a:majorFont>
      <a:minorFont>
        <a:latin typeface="Aver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>
            <a:gradFill>
              <a:gsLst>
                <a:gs pos="0">
                  <a:schemeClr val="accent3"/>
                </a:gs>
                <a:gs pos="100000">
                  <a:schemeClr val="accent2"/>
                </a:gs>
              </a:gsLst>
              <a:lin ang="5400000" scaled="1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gradFill>
            <a:gsLst>
              <a:gs pos="0">
                <a:schemeClr val="accent3"/>
              </a:gs>
              <a:gs pos="100000">
                <a:schemeClr val="accent2"/>
              </a:gs>
            </a:gsLst>
            <a:lin ang="5400000" scaled="1"/>
          </a:gra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marL="285750" indent="-285750" algn="l">
          <a:buClr>
            <a:schemeClr val="accent3"/>
          </a:buClr>
          <a:buFont typeface="Averta" panose="00000500000000000000" pitchFamily="2" charset="0"/>
          <a:buChar char="‒"/>
          <a:defRPr sz="1600" dirty="0" err="1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st.pptx" id="{12859DAB-8F48-4CB4-80FD-C62D5615E6EA}" vid="{1F90A044-DC74-4FA5-9127-845A13EC1FB7}"/>
    </a:ext>
  </a:extLst>
</a:theme>
</file>

<file path=ppt/theme/theme3.xml><?xml version="1.0" encoding="utf-8"?>
<a:theme xmlns:a="http://schemas.openxmlformats.org/drawingml/2006/main" name="ispe-power-point-template (1)">
  <a:themeElements>
    <a:clrScheme name="ISPE">
      <a:dk1>
        <a:sysClr val="windowText" lastClr="000000"/>
      </a:dk1>
      <a:lt1>
        <a:sysClr val="window" lastClr="FFFFFF"/>
      </a:lt1>
      <a:dk2>
        <a:srgbClr val="59595B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SPE_template_16x9.potx" id="{B6B90781-42E1-4CCE-918B-18E54AB2B747}" vid="{2FA9E34A-9B39-4A22-94BA-D50E6F19186F}"/>
    </a:ext>
  </a:extLst>
</a:theme>
</file>

<file path=ppt/theme/theme4.xml><?xml version="1.0" encoding="utf-8"?>
<a:theme xmlns:a="http://schemas.openxmlformats.org/drawingml/2006/main" name="ISPE section">
  <a:themeElements>
    <a:clrScheme name="ISPE">
      <a:dk1>
        <a:sysClr val="windowText" lastClr="000000"/>
      </a:dk1>
      <a:lt1>
        <a:sysClr val="window" lastClr="FFFFFF"/>
      </a:lt1>
      <a:dk2>
        <a:srgbClr val="464646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SPE_template_16x9.potx" id="{B6B90781-42E1-4CCE-918B-18E54AB2B747}" vid="{B196676E-C01E-43AF-A3BE-A040EBEB3FFA}"/>
    </a:ext>
  </a:extLst>
</a:theme>
</file>

<file path=ppt/theme/theme5.xml><?xml version="1.0" encoding="utf-8"?>
<a:theme xmlns:a="http://schemas.openxmlformats.org/drawingml/2006/main" name="ISPE content">
  <a:themeElements>
    <a:clrScheme name="ISPE">
      <a:dk1>
        <a:sysClr val="windowText" lastClr="000000"/>
      </a:dk1>
      <a:lt1>
        <a:sysClr val="window" lastClr="FFFFFF"/>
      </a:lt1>
      <a:dk2>
        <a:srgbClr val="59595B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SPE_template_16x9.potx" id="{B6B90781-42E1-4CCE-918B-18E54AB2B747}" vid="{23B8E42B-494B-421B-8BD1-8185E8198E6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d89ec56-86e5-4128-a3e1-0384d17f19ea">
      <UserInfo>
        <DisplayName>Anja Degraeve</DisplayName>
        <AccountId>12022</AccountId>
        <AccountType/>
      </UserInfo>
      <UserInfo>
        <DisplayName>Celine Sherlock</DisplayName>
        <AccountId>19526</AccountId>
        <AccountType/>
      </UserInfo>
      <UserInfo>
        <DisplayName>Ádám Weigert</DisplayName>
        <AccountId>11841</AccountId>
        <AccountType/>
      </UserInfo>
      <UserInfo>
        <DisplayName>Ramya Rajendran</DisplayName>
        <AccountId>19625</AccountId>
        <AccountType/>
      </UserInfo>
      <UserInfo>
        <DisplayName>Jörn Elbracht</DisplayName>
        <AccountId>1588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B863BC5409C24DBAF76F8B2B45DFF5" ma:contentTypeVersion="" ma:contentTypeDescription="Create a new document." ma:contentTypeScope="" ma:versionID="b4574bfeb7511157781bc170421513aa">
  <xsd:schema xmlns:xsd="http://www.w3.org/2001/XMLSchema" xmlns:xs="http://www.w3.org/2001/XMLSchema" xmlns:p="http://schemas.microsoft.com/office/2006/metadata/properties" xmlns:ns2="bdaf8123-61a6-484d-bf74-1bac5aabddd6" xmlns:ns3="fd89ec56-86e5-4128-a3e1-0384d17f19ea" targetNamespace="http://schemas.microsoft.com/office/2006/metadata/properties" ma:root="true" ma:fieldsID="75b09a472f897d45dabe1e960b649b36" ns2:_="" ns3:_="">
    <xsd:import namespace="bdaf8123-61a6-484d-bf74-1bac5aabddd6"/>
    <xsd:import namespace="fd89ec56-86e5-4128-a3e1-0384d17f19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af8123-61a6-484d-bf74-1bac5aabdd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89ec56-86e5-4128-a3e1-0384d17f19e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0A93EA6-D128-4FD9-AC0B-5A4A678D3EB2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bdaf8123-61a6-484d-bf74-1bac5aabddd6"/>
    <ds:schemaRef ds:uri="http://purl.org/dc/elements/1.1/"/>
    <ds:schemaRef ds:uri="fd89ec56-86e5-4128-a3e1-0384d17f19e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7E876CE-BEB9-411E-AF54-7E8204BD450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857D20-5525-409D-A4C0-9BD1E818E6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af8123-61a6-484d-bf74-1bac5aabddd6"/>
    <ds:schemaRef ds:uri="fd89ec56-86e5-4128-a3e1-0384d17f19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st</Template>
  <TotalTime>8983</TotalTime>
  <Words>916</Words>
  <Application>Microsoft Office PowerPoint</Application>
  <PresentationFormat>On-screen Show (4:3)</PresentationFormat>
  <Paragraphs>176</Paragraphs>
  <Slides>25</Slides>
  <Notes>25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Arial</vt:lpstr>
      <vt:lpstr>Averta Bold</vt:lpstr>
      <vt:lpstr>Averta Light</vt:lpstr>
      <vt:lpstr>Averta</vt:lpstr>
      <vt:lpstr>Calibri</vt:lpstr>
      <vt:lpstr>Office Theme</vt:lpstr>
      <vt:lpstr>1_Office Theme</vt:lpstr>
      <vt:lpstr>ispe-power-point-template (1)</vt:lpstr>
      <vt:lpstr>ISPE section</vt:lpstr>
      <vt:lpstr>ISPE content</vt:lpstr>
      <vt:lpstr>think-cell Slide</vt:lpstr>
      <vt:lpstr>DRIVING CONTINUOUS PROCESS IMPROVEMENT (CPI) OF FLUID TRANSFER Processes THROUGH EMERGING TECHNOLOGIES</vt:lpstr>
      <vt:lpstr>Educational sessions II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RIVING CONTINUOUS PROCESS IMPROVEMENT (CPI) OF FLUID TRANSFER Processes THROUGH EMERGING TECHNOLOG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antor Presentation</dc:title>
  <dc:creator>Christine Morales</dc:creator>
  <cp:lastModifiedBy>Beth Lawler</cp:lastModifiedBy>
  <cp:revision>357</cp:revision>
  <dcterms:created xsi:type="dcterms:W3CDTF">2018-04-06T15:46:34Z</dcterms:created>
  <dcterms:modified xsi:type="dcterms:W3CDTF">2022-01-24T17:2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B863BC5409C24DBAF76F8B2B45DFF5</vt:lpwstr>
  </property>
</Properties>
</file>